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8.xml" ContentType="application/vnd.openxmlformats-officedocument.presentationml.tags+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9.xml" ContentType="application/vnd.openxmlformats-officedocument.presentationml.tags+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0.xml" ContentType="application/vnd.openxmlformats-officedocument.presentationml.tags+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1.xml" ContentType="application/vnd.openxmlformats-officedocument.presentationml.tags+xml"/>
  <Override PartName="/ppt/notesSlides/notesSlide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ppt/tags/tag16.xml" ContentType="application/vnd.openxmlformats-officedocument.presentationml.tags+xml"/>
  <Override PartName="/ppt/notesSlides/notesSlide13.xml" ContentType="application/vnd.openxmlformats-officedocument.presentationml.notesSlide+xml"/>
  <Override PartName="/ppt/tags/tag17.xml" ContentType="application/vnd.openxmlformats-officedocument.presentationml.tags+xml"/>
  <Override PartName="/ppt/notesSlides/notesSlide14.xml" ContentType="application/vnd.openxmlformats-officedocument.presentationml.notesSlide+xml"/>
  <Override PartName="/ppt/tags/tag18.xml" ContentType="application/vnd.openxmlformats-officedocument.presentationml.tags+xml"/>
  <Override PartName="/ppt/notesSlides/notesSlide15.xml" ContentType="application/vnd.openxmlformats-officedocument.presentationml.notesSlide+xml"/>
  <Override PartName="/ppt/tags/tag19.xml" ContentType="application/vnd.openxmlformats-officedocument.presentationml.tags+xml"/>
  <Override PartName="/ppt/notesSlides/notesSlide16.xml" ContentType="application/vnd.openxmlformats-officedocument.presentationml.notesSlide+xml"/>
  <Override PartName="/ppt/tags/tag20.xml" ContentType="application/vnd.openxmlformats-officedocument.presentationml.tags+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19"/>
    <p:sldMasterId id="2147483744" r:id="rId20"/>
  </p:sldMasterIdLst>
  <p:notesMasterIdLst>
    <p:notesMasterId r:id="rId39"/>
  </p:notesMasterIdLst>
  <p:sldIdLst>
    <p:sldId id="256" r:id="rId21"/>
    <p:sldId id="257" r:id="rId22"/>
    <p:sldId id="525" r:id="rId23"/>
    <p:sldId id="276" r:id="rId24"/>
    <p:sldId id="261" r:id="rId25"/>
    <p:sldId id="262" r:id="rId26"/>
    <p:sldId id="263" r:id="rId27"/>
    <p:sldId id="264" r:id="rId28"/>
    <p:sldId id="1342" r:id="rId29"/>
    <p:sldId id="275" r:id="rId30"/>
    <p:sldId id="1344" r:id="rId31"/>
    <p:sldId id="270" r:id="rId32"/>
    <p:sldId id="526" r:id="rId33"/>
    <p:sldId id="529" r:id="rId34"/>
    <p:sldId id="271" r:id="rId35"/>
    <p:sldId id="273" r:id="rId36"/>
    <p:sldId id="266" r:id="rId37"/>
    <p:sldId id="274" r:id="rId38"/>
  </p:sldIdLst>
  <p:sldSz cx="12192000" cy="6858000"/>
  <p:notesSz cx="6858000" cy="91440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enata Festa" initials="RF" lastIdx="10" clrIdx="0">
    <p:extLst>
      <p:ext uri="{19B8F6BF-5375-455C-9EA6-DF929625EA0E}">
        <p15:presenceInfo xmlns:p15="http://schemas.microsoft.com/office/powerpoint/2012/main" userId="S::rfesta@microsoft.com::6f22df47-533b-4c2a-a3c1-7f9ad1d63e1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B11D5D4-626D-405D-9333-B6D9D3C6C07F}" v="4" dt="2020-05-19T22:30:58.96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1" d="100"/>
          <a:sy n="51" d="100"/>
        </p:scale>
        <p:origin x="504" y="3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 Target="slides/slide6.xml"/><Relationship Id="rId39" Type="http://schemas.openxmlformats.org/officeDocument/2006/relationships/notesMaster" Target="notesMasters/notesMaster1.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9.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10" Type="http://schemas.openxmlformats.org/officeDocument/2006/relationships/customXml" Target="../customXml/item10.xml"/><Relationship Id="rId19" Type="http://schemas.openxmlformats.org/officeDocument/2006/relationships/slideMaster" Target="slideMasters/slideMaster1.xml"/><Relationship Id="rId31" Type="http://schemas.openxmlformats.org/officeDocument/2006/relationships/slide" Target="slides/slide11.xml"/><Relationship Id="rId44"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viewProps" Target="viewProps.xml"/><Relationship Id="rId8" Type="http://schemas.openxmlformats.org/officeDocument/2006/relationships/customXml" Target="../customXml/item8.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microsoft.com/office/2016/11/relationships/changesInfo" Target="changesInfos/changesInfo1.xml"/><Relationship Id="rId20" Type="http://schemas.openxmlformats.org/officeDocument/2006/relationships/slideMaster" Target="slideMasters/slideMaster2.xml"/><Relationship Id="rId41"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tuhan Yildiz" userId="90f344fc-4655-4923-aeaf-697bba59c1a7" providerId="ADAL" clId="{03B9159A-3427-45C2-AB4D-EC03FA627EE4}"/>
    <pc:docChg chg="undo custSel modSld">
      <pc:chgData name="Batuhan Yildiz" userId="90f344fc-4655-4923-aeaf-697bba59c1a7" providerId="ADAL" clId="{03B9159A-3427-45C2-AB4D-EC03FA627EE4}" dt="2020-03-20T20:29:21.581" v="563" actId="1592"/>
      <pc:docMkLst>
        <pc:docMk/>
      </pc:docMkLst>
      <pc:sldChg chg="addSp delSp modSp mod delCm">
        <pc:chgData name="Batuhan Yildiz" userId="90f344fc-4655-4923-aeaf-697bba59c1a7" providerId="ADAL" clId="{03B9159A-3427-45C2-AB4D-EC03FA627EE4}" dt="2020-03-20T20:23:25.580" v="523" actId="1038"/>
        <pc:sldMkLst>
          <pc:docMk/>
          <pc:sldMk cId="62941591" sldId="256"/>
        </pc:sldMkLst>
        <pc:spChg chg="add mod">
          <ac:chgData name="Batuhan Yildiz" userId="90f344fc-4655-4923-aeaf-697bba59c1a7" providerId="ADAL" clId="{03B9159A-3427-45C2-AB4D-EC03FA627EE4}" dt="2020-03-20T20:22:44.286" v="446" actId="962"/>
          <ac:spMkLst>
            <pc:docMk/>
            <pc:sldMk cId="62941591" sldId="256"/>
            <ac:spMk id="3" creationId="{69DAB1AC-2988-4F35-A0BB-22D35221571F}"/>
          </ac:spMkLst>
        </pc:spChg>
        <pc:spChg chg="mod ord">
          <ac:chgData name="Batuhan Yildiz" userId="90f344fc-4655-4923-aeaf-697bba59c1a7" providerId="ADAL" clId="{03B9159A-3427-45C2-AB4D-EC03FA627EE4}" dt="2020-03-20T20:23:25.580" v="523" actId="1038"/>
          <ac:spMkLst>
            <pc:docMk/>
            <pc:sldMk cId="62941591" sldId="256"/>
            <ac:spMk id="7" creationId="{D3EAAD9A-76BF-48B0-A6BF-A24D0A8C5A8F}"/>
          </ac:spMkLst>
        </pc:spChg>
        <pc:grpChg chg="add mod">
          <ac:chgData name="Batuhan Yildiz" userId="90f344fc-4655-4923-aeaf-697bba59c1a7" providerId="ADAL" clId="{03B9159A-3427-45C2-AB4D-EC03FA627EE4}" dt="2020-03-20T20:22:44.286" v="446" actId="962"/>
          <ac:grpSpMkLst>
            <pc:docMk/>
            <pc:sldMk cId="62941591" sldId="256"/>
            <ac:grpSpMk id="2" creationId="{C69960B6-CA3C-4E02-8007-7F117A531879}"/>
          </ac:grpSpMkLst>
        </pc:grpChg>
        <pc:picChg chg="del">
          <ac:chgData name="Batuhan Yildiz" userId="90f344fc-4655-4923-aeaf-697bba59c1a7" providerId="ADAL" clId="{03B9159A-3427-45C2-AB4D-EC03FA627EE4}" dt="2020-03-20T20:07:20.148" v="95" actId="478"/>
          <ac:picMkLst>
            <pc:docMk/>
            <pc:sldMk cId="62941591" sldId="256"/>
            <ac:picMk id="12" creationId="{6D706921-725F-4AC7-9409-772EF5072782}"/>
          </ac:picMkLst>
        </pc:picChg>
        <pc:picChg chg="mod">
          <ac:chgData name="Batuhan Yildiz" userId="90f344fc-4655-4923-aeaf-697bba59c1a7" providerId="ADAL" clId="{03B9159A-3427-45C2-AB4D-EC03FA627EE4}" dt="2020-03-20T20:07:26.090" v="98" actId="1076"/>
          <ac:picMkLst>
            <pc:docMk/>
            <pc:sldMk cId="62941591" sldId="256"/>
            <ac:picMk id="148" creationId="{73B1218B-F53A-4144-81D3-6E72572D50BE}"/>
          </ac:picMkLst>
        </pc:picChg>
      </pc:sldChg>
      <pc:sldChg chg="delCm">
        <pc:chgData name="Batuhan Yildiz" userId="90f344fc-4655-4923-aeaf-697bba59c1a7" providerId="ADAL" clId="{03B9159A-3427-45C2-AB4D-EC03FA627EE4}" dt="2020-03-20T20:27:19.969" v="524" actId="1592"/>
        <pc:sldMkLst>
          <pc:docMk/>
          <pc:sldMk cId="3631375335" sldId="260"/>
        </pc:sldMkLst>
      </pc:sldChg>
      <pc:sldChg chg="modSp delCm">
        <pc:chgData name="Batuhan Yildiz" userId="90f344fc-4655-4923-aeaf-697bba59c1a7" providerId="ADAL" clId="{03B9159A-3427-45C2-AB4D-EC03FA627EE4}" dt="2020-03-20T20:28:40.530" v="561" actId="1592"/>
        <pc:sldMkLst>
          <pc:docMk/>
          <pc:sldMk cId="1397566585" sldId="262"/>
        </pc:sldMkLst>
        <pc:graphicFrameChg chg="mod">
          <ac:chgData name="Batuhan Yildiz" userId="90f344fc-4655-4923-aeaf-697bba59c1a7" providerId="ADAL" clId="{03B9159A-3427-45C2-AB4D-EC03FA627EE4}" dt="2020-03-20T20:27:52.488" v="536" actId="962"/>
          <ac:graphicFrameMkLst>
            <pc:docMk/>
            <pc:sldMk cId="1397566585" sldId="262"/>
            <ac:graphicFrameMk id="7" creationId="{ADC8DEB8-E906-4D87-8BB2-77A102128648}"/>
          </ac:graphicFrameMkLst>
        </pc:graphicFrameChg>
      </pc:sldChg>
      <pc:sldChg chg="modSp delCm">
        <pc:chgData name="Batuhan Yildiz" userId="90f344fc-4655-4923-aeaf-697bba59c1a7" providerId="ADAL" clId="{03B9159A-3427-45C2-AB4D-EC03FA627EE4}" dt="2020-03-20T20:28:50.026" v="562" actId="1592"/>
        <pc:sldMkLst>
          <pc:docMk/>
          <pc:sldMk cId="45058819" sldId="263"/>
        </pc:sldMkLst>
        <pc:graphicFrameChg chg="mod">
          <ac:chgData name="Batuhan Yildiz" userId="90f344fc-4655-4923-aeaf-697bba59c1a7" providerId="ADAL" clId="{03B9159A-3427-45C2-AB4D-EC03FA627EE4}" dt="2020-03-20T20:28:05.326" v="548" actId="962"/>
          <ac:graphicFrameMkLst>
            <pc:docMk/>
            <pc:sldMk cId="45058819" sldId="263"/>
            <ac:graphicFrameMk id="7" creationId="{ADC8DEB8-E906-4D87-8BB2-77A102128648}"/>
          </ac:graphicFrameMkLst>
        </pc:graphicFrameChg>
      </pc:sldChg>
      <pc:sldChg chg="modSp delCm">
        <pc:chgData name="Batuhan Yildiz" userId="90f344fc-4655-4923-aeaf-697bba59c1a7" providerId="ADAL" clId="{03B9159A-3427-45C2-AB4D-EC03FA627EE4}" dt="2020-03-20T20:29:21.581" v="563" actId="1592"/>
        <pc:sldMkLst>
          <pc:docMk/>
          <pc:sldMk cId="3142935976" sldId="264"/>
        </pc:sldMkLst>
        <pc:graphicFrameChg chg="mod">
          <ac:chgData name="Batuhan Yildiz" userId="90f344fc-4655-4923-aeaf-697bba59c1a7" providerId="ADAL" clId="{03B9159A-3427-45C2-AB4D-EC03FA627EE4}" dt="2020-03-20T20:28:11.970" v="560" actId="962"/>
          <ac:graphicFrameMkLst>
            <pc:docMk/>
            <pc:sldMk cId="3142935976" sldId="264"/>
            <ac:graphicFrameMk id="7" creationId="{ADC8DEB8-E906-4D87-8BB2-77A102128648}"/>
          </ac:graphicFrameMkLst>
        </pc:graphicFrameChg>
      </pc:sldChg>
      <pc:sldChg chg="modSp delCm">
        <pc:chgData name="Batuhan Yildiz" userId="90f344fc-4655-4923-aeaf-697bba59c1a7" providerId="ADAL" clId="{03B9159A-3427-45C2-AB4D-EC03FA627EE4}" dt="2020-03-20T20:20:36.733" v="340" actId="1592"/>
        <pc:sldMkLst>
          <pc:docMk/>
          <pc:sldMk cId="1753306168" sldId="276"/>
        </pc:sldMkLst>
        <pc:graphicFrameChg chg="mod">
          <ac:chgData name="Batuhan Yildiz" userId="90f344fc-4655-4923-aeaf-697bba59c1a7" providerId="ADAL" clId="{03B9159A-3427-45C2-AB4D-EC03FA627EE4}" dt="2020-03-20T20:17:06.919" v="339" actId="962"/>
          <ac:graphicFrameMkLst>
            <pc:docMk/>
            <pc:sldMk cId="1753306168" sldId="276"/>
            <ac:graphicFrameMk id="4" creationId="{CCFE5CEB-BFD9-48F9-A321-7809A0C5467A}"/>
          </ac:graphicFrameMkLst>
        </pc:graphicFrameChg>
      </pc:sldChg>
    </pc:docChg>
  </pc:docChgLst>
  <pc:docChgLst>
    <pc:chgData name="Renata Festa" userId="6f22df47-533b-4c2a-a3c1-7f9ad1d63e10" providerId="ADAL" clId="{24A486A1-B48C-41E3-A987-C123681FE4C4}"/>
    <pc:docChg chg="undo custSel delSld modSld">
      <pc:chgData name="Renata Festa" userId="6f22df47-533b-4c2a-a3c1-7f9ad1d63e10" providerId="ADAL" clId="{24A486A1-B48C-41E3-A987-C123681FE4C4}" dt="2020-03-20T18:32:56.161" v="425" actId="404"/>
      <pc:docMkLst>
        <pc:docMk/>
      </pc:docMkLst>
      <pc:sldChg chg="delSp modSp mod addCm modCm">
        <pc:chgData name="Renata Festa" userId="6f22df47-533b-4c2a-a3c1-7f9ad1d63e10" providerId="ADAL" clId="{24A486A1-B48C-41E3-A987-C123681FE4C4}" dt="2020-03-20T18:17:44.805" v="393" actId="478"/>
        <pc:sldMkLst>
          <pc:docMk/>
          <pc:sldMk cId="62941591" sldId="256"/>
        </pc:sldMkLst>
        <pc:spChg chg="mod">
          <ac:chgData name="Renata Festa" userId="6f22df47-533b-4c2a-a3c1-7f9ad1d63e10" providerId="ADAL" clId="{24A486A1-B48C-41E3-A987-C123681FE4C4}" dt="2020-03-20T13:35:46.039" v="2" actId="20577"/>
          <ac:spMkLst>
            <pc:docMk/>
            <pc:sldMk cId="62941591" sldId="256"/>
            <ac:spMk id="6" creationId="{00000000-0000-0000-0000-000000000000}"/>
          </ac:spMkLst>
        </pc:spChg>
        <pc:graphicFrameChg chg="del">
          <ac:chgData name="Renata Festa" userId="6f22df47-533b-4c2a-a3c1-7f9ad1d63e10" providerId="ADAL" clId="{24A486A1-B48C-41E3-A987-C123681FE4C4}" dt="2020-03-20T18:17:44.805" v="393" actId="478"/>
          <ac:graphicFrameMkLst>
            <pc:docMk/>
            <pc:sldMk cId="62941591" sldId="256"/>
            <ac:graphicFrameMk id="132" creationId="{602854A3-B709-4893-A7A7-ECA5177FAE28}"/>
          </ac:graphicFrameMkLst>
        </pc:graphicFrameChg>
      </pc:sldChg>
      <pc:sldChg chg="modSp mod">
        <pc:chgData name="Renata Festa" userId="6f22df47-533b-4c2a-a3c1-7f9ad1d63e10" providerId="ADAL" clId="{24A486A1-B48C-41E3-A987-C123681FE4C4}" dt="2020-03-20T18:30:17.614" v="399" actId="12"/>
        <pc:sldMkLst>
          <pc:docMk/>
          <pc:sldMk cId="2286132364" sldId="258"/>
        </pc:sldMkLst>
        <pc:spChg chg="mod">
          <ac:chgData name="Renata Festa" userId="6f22df47-533b-4c2a-a3c1-7f9ad1d63e10" providerId="ADAL" clId="{24A486A1-B48C-41E3-A987-C123681FE4C4}" dt="2020-03-20T18:30:17.614" v="399" actId="12"/>
          <ac:spMkLst>
            <pc:docMk/>
            <pc:sldMk cId="2286132364" sldId="258"/>
            <ac:spMk id="3" creationId="{00000000-0000-0000-0000-000000000000}"/>
          </ac:spMkLst>
        </pc:spChg>
      </pc:sldChg>
      <pc:sldChg chg="addSp delSp modSp mod addCm delCm modCm modNotesTx">
        <pc:chgData name="Renata Festa" userId="6f22df47-533b-4c2a-a3c1-7f9ad1d63e10" providerId="ADAL" clId="{24A486A1-B48C-41E3-A987-C123681FE4C4}" dt="2020-03-20T18:18:41.236" v="398"/>
        <pc:sldMkLst>
          <pc:docMk/>
          <pc:sldMk cId="3631375335" sldId="260"/>
        </pc:sldMkLst>
        <pc:spChg chg="mod">
          <ac:chgData name="Renata Festa" userId="6f22df47-533b-4c2a-a3c1-7f9ad1d63e10" providerId="ADAL" clId="{24A486A1-B48C-41E3-A987-C123681FE4C4}" dt="2020-03-20T13:41:14.931" v="102"/>
          <ac:spMkLst>
            <pc:docMk/>
            <pc:sldMk cId="3631375335" sldId="260"/>
            <ac:spMk id="4" creationId="{3BDD850C-29B9-4641-B580-0B91B9EBAE00}"/>
          </ac:spMkLst>
        </pc:spChg>
        <pc:spChg chg="add del mod">
          <ac:chgData name="Renata Festa" userId="6f22df47-533b-4c2a-a3c1-7f9ad1d63e10" providerId="ADAL" clId="{24A486A1-B48C-41E3-A987-C123681FE4C4}" dt="2020-03-20T13:47:50.373" v="135" actId="12084"/>
          <ac:spMkLst>
            <pc:docMk/>
            <pc:sldMk cId="3631375335" sldId="260"/>
            <ac:spMk id="5" creationId="{55182462-DFDF-4D48-A92C-42FD52821C4E}"/>
          </ac:spMkLst>
        </pc:spChg>
        <pc:graphicFrameChg chg="add del mod">
          <ac:chgData name="Renata Festa" userId="6f22df47-533b-4c2a-a3c1-7f9ad1d63e10" providerId="ADAL" clId="{24A486A1-B48C-41E3-A987-C123681FE4C4}" dt="2020-03-20T13:46:59.231" v="107" actId="12084"/>
          <ac:graphicFrameMkLst>
            <pc:docMk/>
            <pc:sldMk cId="3631375335" sldId="260"/>
            <ac:graphicFrameMk id="2" creationId="{451821DB-5256-488F-A636-A3CEDF070D08}"/>
          </ac:graphicFrameMkLst>
        </pc:graphicFrameChg>
        <pc:graphicFrameChg chg="add mod">
          <ac:chgData name="Renata Festa" userId="6f22df47-533b-4c2a-a3c1-7f9ad1d63e10" providerId="ADAL" clId="{24A486A1-B48C-41E3-A987-C123681FE4C4}" dt="2020-03-20T18:17:26.043" v="390" actId="962"/>
          <ac:graphicFrameMkLst>
            <pc:docMk/>
            <pc:sldMk cId="3631375335" sldId="260"/>
            <ac:graphicFrameMk id="3" creationId="{0226D48F-654C-4D0C-B135-A183E3BA2CFF}"/>
          </ac:graphicFrameMkLst>
        </pc:graphicFrameChg>
      </pc:sldChg>
      <pc:sldChg chg="modSp addCm delCm modCm">
        <pc:chgData name="Renata Festa" userId="6f22df47-533b-4c2a-a3c1-7f9ad1d63e10" providerId="ADAL" clId="{24A486A1-B48C-41E3-A987-C123681FE4C4}" dt="2020-03-20T16:55:53.675" v="168" actId="1592"/>
        <pc:sldMkLst>
          <pc:docMk/>
          <pc:sldMk cId="3642460649" sldId="261"/>
        </pc:sldMkLst>
        <pc:graphicFrameChg chg="mod">
          <ac:chgData name="Renata Festa" userId="6f22df47-533b-4c2a-a3c1-7f9ad1d63e10" providerId="ADAL" clId="{24A486A1-B48C-41E3-A987-C123681FE4C4}" dt="2020-03-20T13:51:49.813" v="149" actId="20577"/>
          <ac:graphicFrameMkLst>
            <pc:docMk/>
            <pc:sldMk cId="3642460649" sldId="261"/>
            <ac:graphicFrameMk id="7" creationId="{ADC8DEB8-E906-4D87-8BB2-77A102128648}"/>
          </ac:graphicFrameMkLst>
        </pc:graphicFrameChg>
      </pc:sldChg>
      <pc:sldChg chg="modSp addCm modCm">
        <pc:chgData name="Renata Festa" userId="6f22df47-533b-4c2a-a3c1-7f9ad1d63e10" providerId="ADAL" clId="{24A486A1-B48C-41E3-A987-C123681FE4C4}" dt="2020-03-20T18:32:08.202" v="415" actId="403"/>
        <pc:sldMkLst>
          <pc:docMk/>
          <pc:sldMk cId="1397566585" sldId="262"/>
        </pc:sldMkLst>
        <pc:graphicFrameChg chg="mod">
          <ac:chgData name="Renata Festa" userId="6f22df47-533b-4c2a-a3c1-7f9ad1d63e10" providerId="ADAL" clId="{24A486A1-B48C-41E3-A987-C123681FE4C4}" dt="2020-03-20T18:32:08.202" v="415" actId="403"/>
          <ac:graphicFrameMkLst>
            <pc:docMk/>
            <pc:sldMk cId="1397566585" sldId="262"/>
            <ac:graphicFrameMk id="7" creationId="{ADC8DEB8-E906-4D87-8BB2-77A102128648}"/>
          </ac:graphicFrameMkLst>
        </pc:graphicFrameChg>
      </pc:sldChg>
      <pc:sldChg chg="modSp addCm modCm">
        <pc:chgData name="Renata Festa" userId="6f22df47-533b-4c2a-a3c1-7f9ad1d63e10" providerId="ADAL" clId="{24A486A1-B48C-41E3-A987-C123681FE4C4}" dt="2020-03-20T18:32:56.161" v="425" actId="404"/>
        <pc:sldMkLst>
          <pc:docMk/>
          <pc:sldMk cId="45058819" sldId="263"/>
        </pc:sldMkLst>
        <pc:graphicFrameChg chg="mod">
          <ac:chgData name="Renata Festa" userId="6f22df47-533b-4c2a-a3c1-7f9ad1d63e10" providerId="ADAL" clId="{24A486A1-B48C-41E3-A987-C123681FE4C4}" dt="2020-03-20T18:32:56.161" v="425" actId="404"/>
          <ac:graphicFrameMkLst>
            <pc:docMk/>
            <pc:sldMk cId="45058819" sldId="263"/>
            <ac:graphicFrameMk id="7" creationId="{ADC8DEB8-E906-4D87-8BB2-77A102128648}"/>
          </ac:graphicFrameMkLst>
        </pc:graphicFrameChg>
      </pc:sldChg>
      <pc:sldChg chg="modSp addCm modCm">
        <pc:chgData name="Renata Festa" userId="6f22df47-533b-4c2a-a3c1-7f9ad1d63e10" providerId="ADAL" clId="{24A486A1-B48C-41E3-A987-C123681FE4C4}" dt="2020-03-20T18:32:30.614" v="423" actId="403"/>
        <pc:sldMkLst>
          <pc:docMk/>
          <pc:sldMk cId="3142935976" sldId="264"/>
        </pc:sldMkLst>
        <pc:graphicFrameChg chg="mod">
          <ac:chgData name="Renata Festa" userId="6f22df47-533b-4c2a-a3c1-7f9ad1d63e10" providerId="ADAL" clId="{24A486A1-B48C-41E3-A987-C123681FE4C4}" dt="2020-03-20T18:32:30.614" v="423" actId="403"/>
          <ac:graphicFrameMkLst>
            <pc:docMk/>
            <pc:sldMk cId="3142935976" sldId="264"/>
            <ac:graphicFrameMk id="7" creationId="{ADC8DEB8-E906-4D87-8BB2-77A102128648}"/>
          </ac:graphicFrameMkLst>
        </pc:graphicFrameChg>
      </pc:sldChg>
      <pc:sldChg chg="del">
        <pc:chgData name="Renata Festa" userId="6f22df47-533b-4c2a-a3c1-7f9ad1d63e10" providerId="ADAL" clId="{24A486A1-B48C-41E3-A987-C123681FE4C4}" dt="2020-03-20T17:12:24.032" v="230" actId="47"/>
        <pc:sldMkLst>
          <pc:docMk/>
          <pc:sldMk cId="120129640" sldId="265"/>
        </pc:sldMkLst>
      </pc:sldChg>
      <pc:sldChg chg="modSp mod">
        <pc:chgData name="Renata Festa" userId="6f22df47-533b-4c2a-a3c1-7f9ad1d63e10" providerId="ADAL" clId="{24A486A1-B48C-41E3-A987-C123681FE4C4}" dt="2020-03-20T18:17:16.092" v="388" actId="962"/>
        <pc:sldMkLst>
          <pc:docMk/>
          <pc:sldMk cId="563266699" sldId="266"/>
        </pc:sldMkLst>
        <pc:spChg chg="mod">
          <ac:chgData name="Renata Festa" userId="6f22df47-533b-4c2a-a3c1-7f9ad1d63e10" providerId="ADAL" clId="{24A486A1-B48C-41E3-A987-C123681FE4C4}" dt="2020-03-20T18:17:16.092" v="388" actId="962"/>
          <ac:spMkLst>
            <pc:docMk/>
            <pc:sldMk cId="563266699" sldId="266"/>
            <ac:spMk id="69" creationId="{11119A8B-20A4-4AC1-87B7-0DF8F835D685}"/>
          </ac:spMkLst>
        </pc:spChg>
      </pc:sldChg>
      <pc:sldChg chg="modSp mod">
        <pc:chgData name="Renata Festa" userId="6f22df47-533b-4c2a-a3c1-7f9ad1d63e10" providerId="ADAL" clId="{24A486A1-B48C-41E3-A987-C123681FE4C4}" dt="2020-03-20T18:16:24.937" v="310" actId="962"/>
        <pc:sldMkLst>
          <pc:docMk/>
          <pc:sldMk cId="2886847419" sldId="275"/>
        </pc:sldMkLst>
        <pc:spChg chg="mod">
          <ac:chgData name="Renata Festa" userId="6f22df47-533b-4c2a-a3c1-7f9ad1d63e10" providerId="ADAL" clId="{24A486A1-B48C-41E3-A987-C123681FE4C4}" dt="2020-03-20T18:16:24.937" v="310" actId="962"/>
          <ac:spMkLst>
            <pc:docMk/>
            <pc:sldMk cId="2886847419" sldId="275"/>
            <ac:spMk id="37" creationId="{ACBD2087-2E5B-4996-B066-25DF0BAB8BBD}"/>
          </ac:spMkLst>
        </pc:spChg>
      </pc:sldChg>
      <pc:sldChg chg="modSp addCm modCm">
        <pc:chgData name="Renata Festa" userId="6f22df47-533b-4c2a-a3c1-7f9ad1d63e10" providerId="ADAL" clId="{24A486A1-B48C-41E3-A987-C123681FE4C4}" dt="2020-03-20T18:18:37.761" v="396"/>
        <pc:sldMkLst>
          <pc:docMk/>
          <pc:sldMk cId="1753306168" sldId="276"/>
        </pc:sldMkLst>
        <pc:graphicFrameChg chg="mod">
          <ac:chgData name="Renata Festa" userId="6f22df47-533b-4c2a-a3c1-7f9ad1d63e10" providerId="ADAL" clId="{24A486A1-B48C-41E3-A987-C123681FE4C4}" dt="2020-03-20T18:17:31.920" v="392" actId="962"/>
          <ac:graphicFrameMkLst>
            <pc:docMk/>
            <pc:sldMk cId="1753306168" sldId="276"/>
            <ac:graphicFrameMk id="4" creationId="{CCFE5CEB-BFD9-48F9-A321-7809A0C5467A}"/>
          </ac:graphicFrameMkLst>
        </pc:graphicFrameChg>
      </pc:sldChg>
    </pc:docChg>
  </pc:docChgLst>
  <pc:docChgLst>
    <pc:chgData name="Batuhan Yildiz" userId="90f344fc-4655-4923-aeaf-697bba59c1a7" providerId="ADAL" clId="{AB11D5D4-626D-405D-9333-B6D9D3C6C07F}"/>
    <pc:docChg chg="modSld">
      <pc:chgData name="Batuhan Yildiz" userId="90f344fc-4655-4923-aeaf-697bba59c1a7" providerId="ADAL" clId="{AB11D5D4-626D-405D-9333-B6D9D3C6C07F}" dt="2020-05-19T22:30:58.961" v="1" actId="12100"/>
      <pc:docMkLst>
        <pc:docMk/>
      </pc:docMkLst>
      <pc:sldChg chg="modSp">
        <pc:chgData name="Batuhan Yildiz" userId="90f344fc-4655-4923-aeaf-697bba59c1a7" providerId="ADAL" clId="{AB11D5D4-626D-405D-9333-B6D9D3C6C07F}" dt="2020-05-19T22:30:58.961" v="1" actId="12100"/>
        <pc:sldMkLst>
          <pc:docMk/>
          <pc:sldMk cId="3631375335" sldId="260"/>
        </pc:sldMkLst>
        <pc:graphicFrameChg chg="mod">
          <ac:chgData name="Batuhan Yildiz" userId="90f344fc-4655-4923-aeaf-697bba59c1a7" providerId="ADAL" clId="{AB11D5D4-626D-405D-9333-B6D9D3C6C07F}" dt="2020-05-19T22:30:58.961" v="1" actId="12100"/>
          <ac:graphicFrameMkLst>
            <pc:docMk/>
            <pc:sldMk cId="3631375335" sldId="260"/>
            <ac:graphicFrameMk id="3" creationId="{0226D48F-654C-4D0C-B135-A183E3BA2CFF}"/>
          </ac:graphicFrameMkLst>
        </pc:graphicFrameChg>
      </pc:sldChg>
      <pc:sldChg chg="modSp">
        <pc:chgData name="Batuhan Yildiz" userId="90f344fc-4655-4923-aeaf-697bba59c1a7" providerId="ADAL" clId="{AB11D5D4-626D-405D-9333-B6D9D3C6C07F}" dt="2020-05-19T22:30:52.881" v="0" actId="12100"/>
        <pc:sldMkLst>
          <pc:docMk/>
          <pc:sldMk cId="1753306168" sldId="276"/>
        </pc:sldMkLst>
        <pc:graphicFrameChg chg="mod">
          <ac:chgData name="Batuhan Yildiz" userId="90f344fc-4655-4923-aeaf-697bba59c1a7" providerId="ADAL" clId="{AB11D5D4-626D-405D-9333-B6D9D3C6C07F}" dt="2020-05-19T22:30:52.881" v="0" actId="12100"/>
          <ac:graphicFrameMkLst>
            <pc:docMk/>
            <pc:sldMk cId="1753306168" sldId="276"/>
            <ac:graphicFrameMk id="4" creationId="{CCFE5CEB-BFD9-48F9-A321-7809A0C5467A}"/>
          </ac:graphicFrameMkLst>
        </pc:graphicFrameChg>
      </pc:sldChg>
    </pc:docChg>
  </pc:docChgLst>
  <pc:docChgLst>
    <pc:chgData name="Renata Festa" userId="6f22df47-533b-4c2a-a3c1-7f9ad1d63e10" providerId="ADAL" clId="{DC1907A4-D988-4476-BA4C-DCDD7392E34F}"/>
    <pc:docChg chg="modSld">
      <pc:chgData name="Renata Festa" userId="6f22df47-533b-4c2a-a3c1-7f9ad1d63e10" providerId="ADAL" clId="{DC1907A4-D988-4476-BA4C-DCDD7392E34F}" dt="2020-03-24T17:35:59.066" v="1" actId="1076"/>
      <pc:docMkLst>
        <pc:docMk/>
      </pc:docMkLst>
      <pc:sldChg chg="modSp mod">
        <pc:chgData name="Renata Festa" userId="6f22df47-533b-4c2a-a3c1-7f9ad1d63e10" providerId="ADAL" clId="{DC1907A4-D988-4476-BA4C-DCDD7392E34F}" dt="2020-03-24T17:35:59.066" v="1" actId="1076"/>
        <pc:sldMkLst>
          <pc:docMk/>
          <pc:sldMk cId="62941591" sldId="256"/>
        </pc:sldMkLst>
        <pc:spChg chg="mod">
          <ac:chgData name="Renata Festa" userId="6f22df47-533b-4c2a-a3c1-7f9ad1d63e10" providerId="ADAL" clId="{DC1907A4-D988-4476-BA4C-DCDD7392E34F}" dt="2020-03-24T17:35:59.066" v="1" actId="1076"/>
          <ac:spMkLst>
            <pc:docMk/>
            <pc:sldMk cId="62941591" sldId="256"/>
            <ac:spMk id="7" creationId="{D3EAAD9A-76BF-48B0-A6BF-A24D0A8C5A8F}"/>
          </ac:spMkLst>
        </pc:spChg>
      </pc:sldChg>
    </pc:docChg>
  </pc:docChgLst>
</pc:chgInfo>
</file>

<file path=ppt/diagrams/_rels/data7.xml.rels><?xml version="1.0" encoding="UTF-8" standalone="yes"?>
<Relationships xmlns="http://schemas.openxmlformats.org/package/2006/relationships"><Relationship Id="rId2" Type="http://schemas.openxmlformats.org/officeDocument/2006/relationships/hyperlink" Target="https://outlook.live.com/owa/" TargetMode="External"/><Relationship Id="rId1" Type="http://schemas.openxmlformats.org/officeDocument/2006/relationships/hyperlink" Target="https://nam06.safelinks.protection.outlook.com/?url=https%3A%2F%2Faka.ms%2FLearningCampus&amp;data=04%7C01%7CJohn.Deardurff%40microsoft.com%7Cc1c89f671506401ac3d508d8f90d5c86%7C72f988bf86f141af91ab2d7cd011db47%7C1%7C0%7C637533183071300818%7CUnknown%7CTWFpbGZsb3d8eyJWIjoiMC4wLjAwMDAiLCJQIjoiV2luMzIiLCJBTiI6Ik1haWwiLCJXVCI6Mn0%3D%7C1000&amp;sdata=T5lp3gsmY4%2FomY4cE2BZYribR4FfT4SAzCExyHLpom4%3D&amp;reserved=0" TargetMode="External"/></Relationships>
</file>

<file path=ppt/diagrams/_rels/drawing7.xml.rels><?xml version="1.0" encoding="UTF-8" standalone="yes"?>
<Relationships xmlns="http://schemas.openxmlformats.org/package/2006/relationships"><Relationship Id="rId2" Type="http://schemas.openxmlformats.org/officeDocument/2006/relationships/hyperlink" Target="https://outlook.live.com/owa/" TargetMode="External"/><Relationship Id="rId1" Type="http://schemas.openxmlformats.org/officeDocument/2006/relationships/hyperlink" Target="https://nam06.safelinks.protection.outlook.com/?url=https%3A%2F%2Faka.ms%2FLearningCampus&amp;data=04%7C01%7CJohn.Deardurff%40microsoft.com%7Cc1c89f671506401ac3d508d8f90d5c86%7C72f988bf86f141af91ab2d7cd011db47%7C1%7C0%7C637533183071300818%7CUnknown%7CTWFpbGZsb3d8eyJWIjoiMC4wLjAwMDAiLCJQIjoiV2luMzIiLCJBTiI6Ik1haWwiLCJXVCI6Mn0%3D%7C1000&amp;sdata=T5lp3gsmY4%2FomY4cE2BZYribR4FfT4SAzCExyHLpom4%3D&amp;reserved=0" TargetMode="External"/></Relationships>
</file>

<file path=ppt/diagrams/colors1.xml><?xml version="1.0" encoding="utf-8"?>
<dgm:colorsDef xmlns:dgm="http://schemas.openxmlformats.org/drawingml/2006/diagram" xmlns:a="http://schemas.openxmlformats.org/drawingml/2006/main" uniqueId="urn:microsoft.com/office/officeart/2005/8/colors/accent2_4">
  <dgm:title val=""/>
  <dgm:desc val=""/>
  <dgm:catLst>
    <dgm:cat type="accent2" pri="11400"/>
  </dgm:catLst>
  <dgm:styleLbl name="node0">
    <dgm:fillClrLst meth="cycle">
      <a:schemeClr val="accent2">
        <a:shade val="60000"/>
      </a:schemeClr>
    </dgm:fillClrLst>
    <dgm:linClrLst meth="repeat">
      <a:schemeClr val="lt1"/>
    </dgm:linClrLst>
    <dgm:effectClrLst/>
    <dgm:txLinClrLst/>
    <dgm:txFillClrLst/>
    <dgm:txEffectClrLst/>
  </dgm:styleLbl>
  <dgm:styleLbl name="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alignNode1">
    <dgm:fillClrLst meth="cycle">
      <a:schemeClr val="accent2">
        <a:shade val="50000"/>
      </a:schemeClr>
      <a:schemeClr val="accent2">
        <a:tint val="45000"/>
      </a:schemeClr>
    </dgm:fillClrLst>
    <dgm:linClrLst meth="cycle">
      <a:schemeClr val="accent2">
        <a:shade val="50000"/>
      </a:schemeClr>
      <a:schemeClr val="accent2">
        <a:tint val="45000"/>
      </a:schemeClr>
    </dgm:linClrLst>
    <dgm:effectClrLst/>
    <dgm:txLinClrLst/>
    <dgm:txFillClrLst/>
    <dgm:txEffectClrLst/>
  </dgm:styleLbl>
  <dgm:styleLbl name="ln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vennNode1">
    <dgm:fillClrLst meth="cycle">
      <a:schemeClr val="accent2">
        <a:shade val="80000"/>
        <a:alpha val="50000"/>
      </a:schemeClr>
      <a:schemeClr val="accent2">
        <a:tint val="45000"/>
        <a:alpha val="50000"/>
      </a:schemeClr>
    </dgm:fillClrLst>
    <dgm:linClrLst meth="repeat">
      <a:schemeClr val="lt1"/>
    </dgm:linClrLst>
    <dgm:effectClrLst/>
    <dgm:txLinClrLst/>
    <dgm:txFillClrLst/>
    <dgm:txEffectClrLst/>
  </dgm:styleLbl>
  <dgm:styleLbl name="node2">
    <dgm:fillClrLst>
      <a:schemeClr val="accent2">
        <a:shade val="80000"/>
      </a:schemeClr>
    </dgm:fillClrLst>
    <dgm:linClrLst meth="repeat">
      <a:schemeClr val="lt1"/>
    </dgm:linClrLst>
    <dgm:effectClrLst/>
    <dgm:txLinClrLst/>
    <dgm:txFillClrLst/>
    <dgm:txEffectClrLst/>
  </dgm:styleLbl>
  <dgm:styleLbl name="node3">
    <dgm:fillClrLst>
      <a:schemeClr val="accent2">
        <a:tint val="99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f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b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sibTrans1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0000"/>
      </a:schemeClr>
    </dgm:fillClrLst>
    <dgm:linClrLst meth="repeat">
      <a:schemeClr val="lt1"/>
    </dgm:linClrLst>
    <dgm:effectClrLst/>
    <dgm:txLinClrLst/>
    <dgm:txFillClrLst/>
    <dgm:txEffectClrLst/>
  </dgm:styleLbl>
  <dgm:styleLbl name="asst3">
    <dgm:fillClrLst>
      <a:schemeClr val="accent2">
        <a:tint val="70000"/>
      </a:schemeClr>
    </dgm:fillClrLst>
    <dgm:linClrLst meth="repeat">
      <a:schemeClr val="lt1"/>
    </dgm:linClrLst>
    <dgm:effectClrLst/>
    <dgm:txLinClrLst/>
    <dgm:txFillClrLst/>
    <dgm:txEffectClrLst/>
  </dgm:styleLbl>
  <dgm:styleLbl name="asst4">
    <dgm:fillClrLst>
      <a:schemeClr val="accent2">
        <a:tint val="5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align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bgAccFollowNode1">
    <dgm:fillClrLst meth="repeat">
      <a:schemeClr val="accent2">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55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761C2B5-A8AB-4291-8C4D-A0449ABE488B}" type="doc">
      <dgm:prSet loTypeId="urn:microsoft.com/office/officeart/2005/8/layout/default" loCatId="list" qsTypeId="urn:microsoft.com/office/officeart/2005/8/quickstyle/simple1" qsCatId="simple" csTypeId="urn:microsoft.com/office/officeart/2005/8/colors/accent2_4" csCatId="accent2" phldr="1"/>
      <dgm:spPr/>
      <dgm:t>
        <a:bodyPr/>
        <a:lstStyle/>
        <a:p>
          <a:endParaRPr lang="en-US"/>
        </a:p>
      </dgm:t>
    </dgm:pt>
    <dgm:pt modelId="{629F70DA-59B6-4E8E-BD22-8B3AAFF1B82B}">
      <dgm:prSet/>
      <dgm:spPr/>
      <dgm:t>
        <a:bodyPr/>
        <a:lstStyle/>
        <a:p>
          <a:r>
            <a:rPr lang="en-US" baseline="0"/>
            <a:t>Class hours</a:t>
          </a:r>
          <a:endParaRPr lang="en-US"/>
        </a:p>
      </dgm:t>
      <dgm:extLst>
        <a:ext uri="{E40237B7-FDA0-4F09-8148-C483321AD2D9}">
          <dgm14:cNvPr xmlns:dgm14="http://schemas.microsoft.com/office/drawing/2010/diagram" id="0" name="" descr="Class hours&#10;Building hours&#10;Parking&#10;Restrooms&#10;Meals&#10;Phones&#10;Messages&#10;Smoking&#10;Recycling&#10;"/>
        </a:ext>
      </dgm:extLst>
    </dgm:pt>
    <dgm:pt modelId="{BA380C48-9839-4500-80E2-D9A74E47A5E1}" type="parTrans" cxnId="{71ABC1E8-53C9-4B5A-82E1-906805BD9678}">
      <dgm:prSet/>
      <dgm:spPr/>
      <dgm:t>
        <a:bodyPr/>
        <a:lstStyle/>
        <a:p>
          <a:endParaRPr lang="en-US"/>
        </a:p>
      </dgm:t>
    </dgm:pt>
    <dgm:pt modelId="{B1CFA9E7-E3D9-4BE3-AE07-411E1E4BAF42}" type="sibTrans" cxnId="{71ABC1E8-53C9-4B5A-82E1-906805BD9678}">
      <dgm:prSet/>
      <dgm:spPr/>
      <dgm:t>
        <a:bodyPr/>
        <a:lstStyle/>
        <a:p>
          <a:endParaRPr lang="en-US"/>
        </a:p>
      </dgm:t>
    </dgm:pt>
    <dgm:pt modelId="{CB1B1955-D41D-4185-9B71-32DCA67971A1}">
      <dgm:prSet/>
      <dgm:spPr/>
      <dgm:t>
        <a:bodyPr/>
        <a:lstStyle/>
        <a:p>
          <a:r>
            <a:rPr lang="en-US" baseline="0"/>
            <a:t>Building hours</a:t>
          </a:r>
          <a:endParaRPr lang="en-US"/>
        </a:p>
      </dgm:t>
      <dgm:extLst>
        <a:ext uri="{E40237B7-FDA0-4F09-8148-C483321AD2D9}">
          <dgm14:cNvPr xmlns:dgm14="http://schemas.microsoft.com/office/drawing/2010/diagram" id="0" name="" descr="Class hours&#10;Building hours&#10;Parking&#10;Restrooms&#10;Meals&#10;Phones&#10;Messages&#10;Smoking&#10;Recycling&#10;"/>
        </a:ext>
      </dgm:extLst>
    </dgm:pt>
    <dgm:pt modelId="{7A989912-4707-4962-BABC-152CDF4CF93A}" type="parTrans" cxnId="{4EF38824-AAD2-425A-A07C-C38A7FF4332F}">
      <dgm:prSet/>
      <dgm:spPr/>
      <dgm:t>
        <a:bodyPr/>
        <a:lstStyle/>
        <a:p>
          <a:endParaRPr lang="en-US"/>
        </a:p>
      </dgm:t>
    </dgm:pt>
    <dgm:pt modelId="{651E51A9-BCD6-4B62-B81B-7F9D2600E96C}" type="sibTrans" cxnId="{4EF38824-AAD2-425A-A07C-C38A7FF4332F}">
      <dgm:prSet/>
      <dgm:spPr/>
      <dgm:t>
        <a:bodyPr/>
        <a:lstStyle/>
        <a:p>
          <a:endParaRPr lang="en-US"/>
        </a:p>
      </dgm:t>
    </dgm:pt>
    <dgm:pt modelId="{EE896815-6343-4063-9EE8-E0CA8FEF08AD}">
      <dgm:prSet/>
      <dgm:spPr/>
      <dgm:t>
        <a:bodyPr/>
        <a:lstStyle/>
        <a:p>
          <a:r>
            <a:rPr lang="en-US" baseline="0"/>
            <a:t>Parking</a:t>
          </a:r>
          <a:endParaRPr lang="en-US"/>
        </a:p>
      </dgm:t>
      <dgm:extLst>
        <a:ext uri="{E40237B7-FDA0-4F09-8148-C483321AD2D9}">
          <dgm14:cNvPr xmlns:dgm14="http://schemas.microsoft.com/office/drawing/2010/diagram" id="0" name="" descr="Class hours&#10;Building hours&#10;Parking&#10;Restrooms&#10;Meals&#10;Phones&#10;Messages&#10;Smoking&#10;Recycling&#10;"/>
        </a:ext>
      </dgm:extLst>
    </dgm:pt>
    <dgm:pt modelId="{AD09DE70-6184-40F4-8D98-B1276BBC722F}" type="parTrans" cxnId="{D2DA4B8C-DF2F-497E-82E6-DB927CE5EB55}">
      <dgm:prSet/>
      <dgm:spPr/>
      <dgm:t>
        <a:bodyPr/>
        <a:lstStyle/>
        <a:p>
          <a:endParaRPr lang="en-US"/>
        </a:p>
      </dgm:t>
    </dgm:pt>
    <dgm:pt modelId="{8D35D125-BECA-4324-8345-85CE0EC624F9}" type="sibTrans" cxnId="{D2DA4B8C-DF2F-497E-82E6-DB927CE5EB55}">
      <dgm:prSet/>
      <dgm:spPr/>
      <dgm:t>
        <a:bodyPr/>
        <a:lstStyle/>
        <a:p>
          <a:endParaRPr lang="en-US"/>
        </a:p>
      </dgm:t>
    </dgm:pt>
    <dgm:pt modelId="{8BD17EB4-7EA5-416D-AA3D-93E2863E7307}">
      <dgm:prSet/>
      <dgm:spPr/>
      <dgm:t>
        <a:bodyPr/>
        <a:lstStyle/>
        <a:p>
          <a:r>
            <a:rPr lang="en-US" baseline="0"/>
            <a:t>Restrooms</a:t>
          </a:r>
          <a:endParaRPr lang="en-US"/>
        </a:p>
      </dgm:t>
      <dgm:extLst>
        <a:ext uri="{E40237B7-FDA0-4F09-8148-C483321AD2D9}">
          <dgm14:cNvPr xmlns:dgm14="http://schemas.microsoft.com/office/drawing/2010/diagram" id="0" name="" descr="Class hours&#10;Building hours&#10;Parking&#10;Restrooms&#10;Meals&#10;Phones&#10;Messages&#10;Smoking&#10;Recycling&#10;"/>
        </a:ext>
      </dgm:extLst>
    </dgm:pt>
    <dgm:pt modelId="{6E2AD9F0-088A-48E5-89B7-73CEA486F457}" type="parTrans" cxnId="{60368D3B-3046-4AB6-8117-68C2681F2C32}">
      <dgm:prSet/>
      <dgm:spPr/>
      <dgm:t>
        <a:bodyPr/>
        <a:lstStyle/>
        <a:p>
          <a:endParaRPr lang="en-US"/>
        </a:p>
      </dgm:t>
    </dgm:pt>
    <dgm:pt modelId="{9961A019-9C9D-454C-A19A-70D038B3AF3A}" type="sibTrans" cxnId="{60368D3B-3046-4AB6-8117-68C2681F2C32}">
      <dgm:prSet/>
      <dgm:spPr/>
      <dgm:t>
        <a:bodyPr/>
        <a:lstStyle/>
        <a:p>
          <a:endParaRPr lang="en-US"/>
        </a:p>
      </dgm:t>
    </dgm:pt>
    <dgm:pt modelId="{4ACA79AB-F691-4A07-AA17-250D61D3298F}">
      <dgm:prSet/>
      <dgm:spPr/>
      <dgm:t>
        <a:bodyPr/>
        <a:lstStyle/>
        <a:p>
          <a:r>
            <a:rPr lang="en-US" baseline="0"/>
            <a:t>Meals</a:t>
          </a:r>
          <a:endParaRPr lang="en-US"/>
        </a:p>
      </dgm:t>
      <dgm:extLst>
        <a:ext uri="{E40237B7-FDA0-4F09-8148-C483321AD2D9}">
          <dgm14:cNvPr xmlns:dgm14="http://schemas.microsoft.com/office/drawing/2010/diagram" id="0" name="" descr="Class hours&#10;Building hours&#10;Parking&#10;Restrooms&#10;Meals&#10;Phones&#10;Messages&#10;Smoking&#10;Recycling&#10;"/>
        </a:ext>
      </dgm:extLst>
    </dgm:pt>
    <dgm:pt modelId="{D74B01E0-9DC5-4F88-9575-DC51BB1B8F8D}" type="parTrans" cxnId="{9D36530C-2BBE-495F-820C-952D5B16060E}">
      <dgm:prSet/>
      <dgm:spPr/>
      <dgm:t>
        <a:bodyPr/>
        <a:lstStyle/>
        <a:p>
          <a:endParaRPr lang="en-US"/>
        </a:p>
      </dgm:t>
    </dgm:pt>
    <dgm:pt modelId="{5E6A2ADC-1A08-46D7-B584-CC899BF49256}" type="sibTrans" cxnId="{9D36530C-2BBE-495F-820C-952D5B16060E}">
      <dgm:prSet/>
      <dgm:spPr/>
      <dgm:t>
        <a:bodyPr/>
        <a:lstStyle/>
        <a:p>
          <a:endParaRPr lang="en-US"/>
        </a:p>
      </dgm:t>
    </dgm:pt>
    <dgm:pt modelId="{6588C4F4-8ED8-49EC-8470-20A3F9932C2C}">
      <dgm:prSet/>
      <dgm:spPr/>
      <dgm:t>
        <a:bodyPr/>
        <a:lstStyle/>
        <a:p>
          <a:r>
            <a:rPr lang="en-US" baseline="0"/>
            <a:t>Phones</a:t>
          </a:r>
          <a:endParaRPr lang="en-US"/>
        </a:p>
      </dgm:t>
      <dgm:extLst>
        <a:ext uri="{E40237B7-FDA0-4F09-8148-C483321AD2D9}">
          <dgm14:cNvPr xmlns:dgm14="http://schemas.microsoft.com/office/drawing/2010/diagram" id="0" name="" descr="Class hours&#10;Building hours&#10;Parking&#10;Restrooms&#10;Meals&#10;Phones&#10;Messages&#10;Smoking&#10;Recycling&#10;"/>
        </a:ext>
      </dgm:extLst>
    </dgm:pt>
    <dgm:pt modelId="{90653420-A9E4-4EBB-8870-B0DE2CE26530}" type="parTrans" cxnId="{E4C57D19-5576-4E55-AD2A-ED22E06F5A13}">
      <dgm:prSet/>
      <dgm:spPr/>
      <dgm:t>
        <a:bodyPr/>
        <a:lstStyle/>
        <a:p>
          <a:endParaRPr lang="en-US"/>
        </a:p>
      </dgm:t>
    </dgm:pt>
    <dgm:pt modelId="{A547E774-D2D4-4B30-851E-F45876AE2474}" type="sibTrans" cxnId="{E4C57D19-5576-4E55-AD2A-ED22E06F5A13}">
      <dgm:prSet/>
      <dgm:spPr/>
      <dgm:t>
        <a:bodyPr/>
        <a:lstStyle/>
        <a:p>
          <a:endParaRPr lang="en-US"/>
        </a:p>
      </dgm:t>
    </dgm:pt>
    <dgm:pt modelId="{8B50EC76-773E-43F6-A7D3-6C4B6919800E}">
      <dgm:prSet/>
      <dgm:spPr/>
      <dgm:t>
        <a:bodyPr/>
        <a:lstStyle/>
        <a:p>
          <a:r>
            <a:rPr lang="en-US" baseline="0"/>
            <a:t>Messages</a:t>
          </a:r>
          <a:endParaRPr lang="en-US"/>
        </a:p>
      </dgm:t>
      <dgm:extLst>
        <a:ext uri="{E40237B7-FDA0-4F09-8148-C483321AD2D9}">
          <dgm14:cNvPr xmlns:dgm14="http://schemas.microsoft.com/office/drawing/2010/diagram" id="0" name="" descr="Class hours&#10;Building hours&#10;Parking&#10;Restrooms&#10;Meals&#10;Phones&#10;Messages&#10;Smoking&#10;Recycling&#10;"/>
        </a:ext>
      </dgm:extLst>
    </dgm:pt>
    <dgm:pt modelId="{1079185A-5653-497D-8400-88EEF4192AF0}" type="parTrans" cxnId="{F01DD2FF-8721-44CF-B9EF-22123CCB56F3}">
      <dgm:prSet/>
      <dgm:spPr/>
      <dgm:t>
        <a:bodyPr/>
        <a:lstStyle/>
        <a:p>
          <a:endParaRPr lang="en-US"/>
        </a:p>
      </dgm:t>
    </dgm:pt>
    <dgm:pt modelId="{1540EB39-32AD-49FC-AECD-E30BE79C3C26}" type="sibTrans" cxnId="{F01DD2FF-8721-44CF-B9EF-22123CCB56F3}">
      <dgm:prSet/>
      <dgm:spPr/>
      <dgm:t>
        <a:bodyPr/>
        <a:lstStyle/>
        <a:p>
          <a:endParaRPr lang="en-US"/>
        </a:p>
      </dgm:t>
    </dgm:pt>
    <dgm:pt modelId="{ADAC72EC-DBC9-4D97-8A37-45BAA5BEAA13}">
      <dgm:prSet/>
      <dgm:spPr/>
      <dgm:t>
        <a:bodyPr/>
        <a:lstStyle/>
        <a:p>
          <a:r>
            <a:rPr lang="en-US" baseline="0"/>
            <a:t>Recycling</a:t>
          </a:r>
          <a:endParaRPr lang="en-US"/>
        </a:p>
      </dgm:t>
      <dgm:extLst>
        <a:ext uri="{E40237B7-FDA0-4F09-8148-C483321AD2D9}">
          <dgm14:cNvPr xmlns:dgm14="http://schemas.microsoft.com/office/drawing/2010/diagram" id="0" name="" descr="Class hours&#10;Building hours&#10;Parking&#10;Restrooms&#10;Meals&#10;Phones&#10;Messages&#10;Smoking&#10;Recycling&#10;"/>
        </a:ext>
      </dgm:extLst>
    </dgm:pt>
    <dgm:pt modelId="{BACBD2B5-B05F-48F0-B451-BE24A7578C4D}" type="parTrans" cxnId="{21DC5EFD-1D61-453F-BE88-D4A32EF9C371}">
      <dgm:prSet/>
      <dgm:spPr/>
      <dgm:t>
        <a:bodyPr/>
        <a:lstStyle/>
        <a:p>
          <a:endParaRPr lang="en-US"/>
        </a:p>
      </dgm:t>
    </dgm:pt>
    <dgm:pt modelId="{21800CA3-62E1-4B43-AE69-CFBEE4118557}" type="sibTrans" cxnId="{21DC5EFD-1D61-453F-BE88-D4A32EF9C371}">
      <dgm:prSet/>
      <dgm:spPr/>
      <dgm:t>
        <a:bodyPr/>
        <a:lstStyle/>
        <a:p>
          <a:endParaRPr lang="en-US"/>
        </a:p>
      </dgm:t>
    </dgm:pt>
    <dgm:pt modelId="{E9044B93-130A-4059-BC37-3C74A07F4E71}" type="pres">
      <dgm:prSet presAssocID="{8761C2B5-A8AB-4291-8C4D-A0449ABE488B}" presName="diagram" presStyleCnt="0">
        <dgm:presLayoutVars>
          <dgm:dir/>
          <dgm:resizeHandles val="exact"/>
        </dgm:presLayoutVars>
      </dgm:prSet>
      <dgm:spPr/>
    </dgm:pt>
    <dgm:pt modelId="{81A7EAFA-5AF1-42E8-A649-836B08C7C4E2}" type="pres">
      <dgm:prSet presAssocID="{629F70DA-59B6-4E8E-BD22-8B3AAFF1B82B}" presName="node" presStyleLbl="node1" presStyleIdx="0" presStyleCnt="8">
        <dgm:presLayoutVars>
          <dgm:bulletEnabled val="1"/>
        </dgm:presLayoutVars>
      </dgm:prSet>
      <dgm:spPr/>
    </dgm:pt>
    <dgm:pt modelId="{36C9099F-A517-42F4-96F5-1371A837DE2A}" type="pres">
      <dgm:prSet presAssocID="{B1CFA9E7-E3D9-4BE3-AE07-411E1E4BAF42}" presName="sibTrans" presStyleCnt="0"/>
      <dgm:spPr/>
    </dgm:pt>
    <dgm:pt modelId="{389EB800-A41C-4EC7-A0BA-A755ADDF2ABD}" type="pres">
      <dgm:prSet presAssocID="{CB1B1955-D41D-4185-9B71-32DCA67971A1}" presName="node" presStyleLbl="node1" presStyleIdx="1" presStyleCnt="8">
        <dgm:presLayoutVars>
          <dgm:bulletEnabled val="1"/>
        </dgm:presLayoutVars>
      </dgm:prSet>
      <dgm:spPr/>
    </dgm:pt>
    <dgm:pt modelId="{7B612B6A-D147-4FF2-83BB-C12FFFE3BAE0}" type="pres">
      <dgm:prSet presAssocID="{651E51A9-BCD6-4B62-B81B-7F9D2600E96C}" presName="sibTrans" presStyleCnt="0"/>
      <dgm:spPr/>
    </dgm:pt>
    <dgm:pt modelId="{A4461675-3012-46F9-8029-465BF7052ABC}" type="pres">
      <dgm:prSet presAssocID="{EE896815-6343-4063-9EE8-E0CA8FEF08AD}" presName="node" presStyleLbl="node1" presStyleIdx="2" presStyleCnt="8">
        <dgm:presLayoutVars>
          <dgm:bulletEnabled val="1"/>
        </dgm:presLayoutVars>
      </dgm:prSet>
      <dgm:spPr/>
    </dgm:pt>
    <dgm:pt modelId="{2D4997FE-3A90-4C30-9598-2CF1EB08CE3C}" type="pres">
      <dgm:prSet presAssocID="{8D35D125-BECA-4324-8345-85CE0EC624F9}" presName="sibTrans" presStyleCnt="0"/>
      <dgm:spPr/>
    </dgm:pt>
    <dgm:pt modelId="{4E4DA351-D9A5-484A-AC28-84996561EC23}" type="pres">
      <dgm:prSet presAssocID="{8BD17EB4-7EA5-416D-AA3D-93E2863E7307}" presName="node" presStyleLbl="node1" presStyleIdx="3" presStyleCnt="8">
        <dgm:presLayoutVars>
          <dgm:bulletEnabled val="1"/>
        </dgm:presLayoutVars>
      </dgm:prSet>
      <dgm:spPr/>
    </dgm:pt>
    <dgm:pt modelId="{95E74C9D-259B-49A4-9D21-E568737AEBA7}" type="pres">
      <dgm:prSet presAssocID="{9961A019-9C9D-454C-A19A-70D038B3AF3A}" presName="sibTrans" presStyleCnt="0"/>
      <dgm:spPr/>
    </dgm:pt>
    <dgm:pt modelId="{FEAA837C-4AE1-4180-9BB1-DE454FCCF01F}" type="pres">
      <dgm:prSet presAssocID="{4ACA79AB-F691-4A07-AA17-250D61D3298F}" presName="node" presStyleLbl="node1" presStyleIdx="4" presStyleCnt="8">
        <dgm:presLayoutVars>
          <dgm:bulletEnabled val="1"/>
        </dgm:presLayoutVars>
      </dgm:prSet>
      <dgm:spPr/>
    </dgm:pt>
    <dgm:pt modelId="{2E1CC9A6-7D86-4C31-9A42-5AAE564671FC}" type="pres">
      <dgm:prSet presAssocID="{5E6A2ADC-1A08-46D7-B584-CC899BF49256}" presName="sibTrans" presStyleCnt="0"/>
      <dgm:spPr/>
    </dgm:pt>
    <dgm:pt modelId="{87E0FF2A-1F85-4B23-88A4-9026528BB742}" type="pres">
      <dgm:prSet presAssocID="{6588C4F4-8ED8-49EC-8470-20A3F9932C2C}" presName="node" presStyleLbl="node1" presStyleIdx="5" presStyleCnt="8">
        <dgm:presLayoutVars>
          <dgm:bulletEnabled val="1"/>
        </dgm:presLayoutVars>
      </dgm:prSet>
      <dgm:spPr/>
    </dgm:pt>
    <dgm:pt modelId="{16CE6A6E-0C8C-4B70-A03B-9802482CB9C2}" type="pres">
      <dgm:prSet presAssocID="{A547E774-D2D4-4B30-851E-F45876AE2474}" presName="sibTrans" presStyleCnt="0"/>
      <dgm:spPr/>
    </dgm:pt>
    <dgm:pt modelId="{CF4F8B14-113D-453D-A0DE-51A59CB22202}" type="pres">
      <dgm:prSet presAssocID="{8B50EC76-773E-43F6-A7D3-6C4B6919800E}" presName="node" presStyleLbl="node1" presStyleIdx="6" presStyleCnt="8">
        <dgm:presLayoutVars>
          <dgm:bulletEnabled val="1"/>
        </dgm:presLayoutVars>
      </dgm:prSet>
      <dgm:spPr/>
    </dgm:pt>
    <dgm:pt modelId="{88ADAAB1-4623-451A-954A-31EBA868E35D}" type="pres">
      <dgm:prSet presAssocID="{1540EB39-32AD-49FC-AECD-E30BE79C3C26}" presName="sibTrans" presStyleCnt="0"/>
      <dgm:spPr/>
    </dgm:pt>
    <dgm:pt modelId="{710F755A-24E0-448E-B737-F053D45E59CC}" type="pres">
      <dgm:prSet presAssocID="{ADAC72EC-DBC9-4D97-8A37-45BAA5BEAA13}" presName="node" presStyleLbl="node1" presStyleIdx="7" presStyleCnt="8">
        <dgm:presLayoutVars>
          <dgm:bulletEnabled val="1"/>
        </dgm:presLayoutVars>
      </dgm:prSet>
      <dgm:spPr/>
    </dgm:pt>
  </dgm:ptLst>
  <dgm:cxnLst>
    <dgm:cxn modelId="{9D36530C-2BBE-495F-820C-952D5B16060E}" srcId="{8761C2B5-A8AB-4291-8C4D-A0449ABE488B}" destId="{4ACA79AB-F691-4A07-AA17-250D61D3298F}" srcOrd="4" destOrd="0" parTransId="{D74B01E0-9DC5-4F88-9575-DC51BB1B8F8D}" sibTransId="{5E6A2ADC-1A08-46D7-B584-CC899BF49256}"/>
    <dgm:cxn modelId="{E4C57D19-5576-4E55-AD2A-ED22E06F5A13}" srcId="{8761C2B5-A8AB-4291-8C4D-A0449ABE488B}" destId="{6588C4F4-8ED8-49EC-8470-20A3F9932C2C}" srcOrd="5" destOrd="0" parTransId="{90653420-A9E4-4EBB-8870-B0DE2CE26530}" sibTransId="{A547E774-D2D4-4B30-851E-F45876AE2474}"/>
    <dgm:cxn modelId="{4EF38824-AAD2-425A-A07C-C38A7FF4332F}" srcId="{8761C2B5-A8AB-4291-8C4D-A0449ABE488B}" destId="{CB1B1955-D41D-4185-9B71-32DCA67971A1}" srcOrd="1" destOrd="0" parTransId="{7A989912-4707-4962-BABC-152CDF4CF93A}" sibTransId="{651E51A9-BCD6-4B62-B81B-7F9D2600E96C}"/>
    <dgm:cxn modelId="{60368D3B-3046-4AB6-8117-68C2681F2C32}" srcId="{8761C2B5-A8AB-4291-8C4D-A0449ABE488B}" destId="{8BD17EB4-7EA5-416D-AA3D-93E2863E7307}" srcOrd="3" destOrd="0" parTransId="{6E2AD9F0-088A-48E5-89B7-73CEA486F457}" sibTransId="{9961A019-9C9D-454C-A19A-70D038B3AF3A}"/>
    <dgm:cxn modelId="{6A397181-69F4-49B8-B6FF-4BA9540D3696}" type="presOf" srcId="{ADAC72EC-DBC9-4D97-8A37-45BAA5BEAA13}" destId="{710F755A-24E0-448E-B737-F053D45E59CC}" srcOrd="0" destOrd="0" presId="urn:microsoft.com/office/officeart/2005/8/layout/default"/>
    <dgm:cxn modelId="{6019A083-5389-46DC-AFF5-3EDCF9CB6C39}" type="presOf" srcId="{CB1B1955-D41D-4185-9B71-32DCA67971A1}" destId="{389EB800-A41C-4EC7-A0BA-A755ADDF2ABD}" srcOrd="0" destOrd="0" presId="urn:microsoft.com/office/officeart/2005/8/layout/default"/>
    <dgm:cxn modelId="{D2DA4B8C-DF2F-497E-82E6-DB927CE5EB55}" srcId="{8761C2B5-A8AB-4291-8C4D-A0449ABE488B}" destId="{EE896815-6343-4063-9EE8-E0CA8FEF08AD}" srcOrd="2" destOrd="0" parTransId="{AD09DE70-6184-40F4-8D98-B1276BBC722F}" sibTransId="{8D35D125-BECA-4324-8345-85CE0EC624F9}"/>
    <dgm:cxn modelId="{2D13799E-F2FC-4472-87CC-BFDBB6E37FD1}" type="presOf" srcId="{8BD17EB4-7EA5-416D-AA3D-93E2863E7307}" destId="{4E4DA351-D9A5-484A-AC28-84996561EC23}" srcOrd="0" destOrd="0" presId="urn:microsoft.com/office/officeart/2005/8/layout/default"/>
    <dgm:cxn modelId="{0B4499B0-D9FC-4AA1-8009-72B8CB9D4628}" type="presOf" srcId="{4ACA79AB-F691-4A07-AA17-250D61D3298F}" destId="{FEAA837C-4AE1-4180-9BB1-DE454FCCF01F}" srcOrd="0" destOrd="0" presId="urn:microsoft.com/office/officeart/2005/8/layout/default"/>
    <dgm:cxn modelId="{12ADEAB6-4C2C-42B7-9298-BD9018121DEF}" type="presOf" srcId="{629F70DA-59B6-4E8E-BD22-8B3AAFF1B82B}" destId="{81A7EAFA-5AF1-42E8-A649-836B08C7C4E2}" srcOrd="0" destOrd="0" presId="urn:microsoft.com/office/officeart/2005/8/layout/default"/>
    <dgm:cxn modelId="{3E2FBABA-8939-4BD3-AF21-D1A865CE1A95}" type="presOf" srcId="{8761C2B5-A8AB-4291-8C4D-A0449ABE488B}" destId="{E9044B93-130A-4059-BC37-3C74A07F4E71}" srcOrd="0" destOrd="0" presId="urn:microsoft.com/office/officeart/2005/8/layout/default"/>
    <dgm:cxn modelId="{3447B4C2-317E-481C-A600-B730DD03FC41}" type="presOf" srcId="{6588C4F4-8ED8-49EC-8470-20A3F9932C2C}" destId="{87E0FF2A-1F85-4B23-88A4-9026528BB742}" srcOrd="0" destOrd="0" presId="urn:microsoft.com/office/officeart/2005/8/layout/default"/>
    <dgm:cxn modelId="{74A50DD3-FE88-4918-A4A2-DBB4009321DC}" type="presOf" srcId="{8B50EC76-773E-43F6-A7D3-6C4B6919800E}" destId="{CF4F8B14-113D-453D-A0DE-51A59CB22202}" srcOrd="0" destOrd="0" presId="urn:microsoft.com/office/officeart/2005/8/layout/default"/>
    <dgm:cxn modelId="{B8F0BED7-347D-4F87-9FB0-621E920FEAEB}" type="presOf" srcId="{EE896815-6343-4063-9EE8-E0CA8FEF08AD}" destId="{A4461675-3012-46F9-8029-465BF7052ABC}" srcOrd="0" destOrd="0" presId="urn:microsoft.com/office/officeart/2005/8/layout/default"/>
    <dgm:cxn modelId="{71ABC1E8-53C9-4B5A-82E1-906805BD9678}" srcId="{8761C2B5-A8AB-4291-8C4D-A0449ABE488B}" destId="{629F70DA-59B6-4E8E-BD22-8B3AAFF1B82B}" srcOrd="0" destOrd="0" parTransId="{BA380C48-9839-4500-80E2-D9A74E47A5E1}" sibTransId="{B1CFA9E7-E3D9-4BE3-AE07-411E1E4BAF42}"/>
    <dgm:cxn modelId="{21DC5EFD-1D61-453F-BE88-D4A32EF9C371}" srcId="{8761C2B5-A8AB-4291-8C4D-A0449ABE488B}" destId="{ADAC72EC-DBC9-4D97-8A37-45BAA5BEAA13}" srcOrd="7" destOrd="0" parTransId="{BACBD2B5-B05F-48F0-B451-BE24A7578C4D}" sibTransId="{21800CA3-62E1-4B43-AE69-CFBEE4118557}"/>
    <dgm:cxn modelId="{F01DD2FF-8721-44CF-B9EF-22123CCB56F3}" srcId="{8761C2B5-A8AB-4291-8C4D-A0449ABE488B}" destId="{8B50EC76-773E-43F6-A7D3-6C4B6919800E}" srcOrd="6" destOrd="0" parTransId="{1079185A-5653-497D-8400-88EEF4192AF0}" sibTransId="{1540EB39-32AD-49FC-AECD-E30BE79C3C26}"/>
    <dgm:cxn modelId="{C1362EC1-1029-46DB-BFA9-E78FE19AF978}" type="presParOf" srcId="{E9044B93-130A-4059-BC37-3C74A07F4E71}" destId="{81A7EAFA-5AF1-42E8-A649-836B08C7C4E2}" srcOrd="0" destOrd="0" presId="urn:microsoft.com/office/officeart/2005/8/layout/default"/>
    <dgm:cxn modelId="{C4ADBBEF-AF80-4B10-938D-231D5504A574}" type="presParOf" srcId="{E9044B93-130A-4059-BC37-3C74A07F4E71}" destId="{36C9099F-A517-42F4-96F5-1371A837DE2A}" srcOrd="1" destOrd="0" presId="urn:microsoft.com/office/officeart/2005/8/layout/default"/>
    <dgm:cxn modelId="{1D043EA3-B64C-437B-9DB1-C317B9B95C8F}" type="presParOf" srcId="{E9044B93-130A-4059-BC37-3C74A07F4E71}" destId="{389EB800-A41C-4EC7-A0BA-A755ADDF2ABD}" srcOrd="2" destOrd="0" presId="urn:microsoft.com/office/officeart/2005/8/layout/default"/>
    <dgm:cxn modelId="{9B96995E-ECEF-498B-A92A-CC41D2B892BB}" type="presParOf" srcId="{E9044B93-130A-4059-BC37-3C74A07F4E71}" destId="{7B612B6A-D147-4FF2-83BB-C12FFFE3BAE0}" srcOrd="3" destOrd="0" presId="urn:microsoft.com/office/officeart/2005/8/layout/default"/>
    <dgm:cxn modelId="{3B986E82-81BB-4EBC-8CAF-CA9239C7BA19}" type="presParOf" srcId="{E9044B93-130A-4059-BC37-3C74A07F4E71}" destId="{A4461675-3012-46F9-8029-465BF7052ABC}" srcOrd="4" destOrd="0" presId="urn:microsoft.com/office/officeart/2005/8/layout/default"/>
    <dgm:cxn modelId="{0A8CD6A1-B7FC-4BDD-AB48-2F2FBF74198E}" type="presParOf" srcId="{E9044B93-130A-4059-BC37-3C74A07F4E71}" destId="{2D4997FE-3A90-4C30-9598-2CF1EB08CE3C}" srcOrd="5" destOrd="0" presId="urn:microsoft.com/office/officeart/2005/8/layout/default"/>
    <dgm:cxn modelId="{3CF7DC28-D248-411A-8613-A7D63207FB1F}" type="presParOf" srcId="{E9044B93-130A-4059-BC37-3C74A07F4E71}" destId="{4E4DA351-D9A5-484A-AC28-84996561EC23}" srcOrd="6" destOrd="0" presId="urn:microsoft.com/office/officeart/2005/8/layout/default"/>
    <dgm:cxn modelId="{982C2E65-C71E-4283-AF21-FBAEE784BD06}" type="presParOf" srcId="{E9044B93-130A-4059-BC37-3C74A07F4E71}" destId="{95E74C9D-259B-49A4-9D21-E568737AEBA7}" srcOrd="7" destOrd="0" presId="urn:microsoft.com/office/officeart/2005/8/layout/default"/>
    <dgm:cxn modelId="{B393FF5F-9BF4-4F05-9D5D-4A247DB4831A}" type="presParOf" srcId="{E9044B93-130A-4059-BC37-3C74A07F4E71}" destId="{FEAA837C-4AE1-4180-9BB1-DE454FCCF01F}" srcOrd="8" destOrd="0" presId="urn:microsoft.com/office/officeart/2005/8/layout/default"/>
    <dgm:cxn modelId="{D18D8266-BC3A-49C8-ADCE-94D424AA8EAE}" type="presParOf" srcId="{E9044B93-130A-4059-BC37-3C74A07F4E71}" destId="{2E1CC9A6-7D86-4C31-9A42-5AAE564671FC}" srcOrd="9" destOrd="0" presId="urn:microsoft.com/office/officeart/2005/8/layout/default"/>
    <dgm:cxn modelId="{C1A9BC2E-4425-4A96-8E47-F348DAB620E7}" type="presParOf" srcId="{E9044B93-130A-4059-BC37-3C74A07F4E71}" destId="{87E0FF2A-1F85-4B23-88A4-9026528BB742}" srcOrd="10" destOrd="0" presId="urn:microsoft.com/office/officeart/2005/8/layout/default"/>
    <dgm:cxn modelId="{CF8A79B4-39FE-4138-91B4-1497868F70C1}" type="presParOf" srcId="{E9044B93-130A-4059-BC37-3C74A07F4E71}" destId="{16CE6A6E-0C8C-4B70-A03B-9802482CB9C2}" srcOrd="11" destOrd="0" presId="urn:microsoft.com/office/officeart/2005/8/layout/default"/>
    <dgm:cxn modelId="{8A6774BB-F37A-4070-AB63-74F6409FA964}" type="presParOf" srcId="{E9044B93-130A-4059-BC37-3C74A07F4E71}" destId="{CF4F8B14-113D-453D-A0DE-51A59CB22202}" srcOrd="12" destOrd="0" presId="urn:microsoft.com/office/officeart/2005/8/layout/default"/>
    <dgm:cxn modelId="{23427CF7-2B3F-4CBE-9724-88DB8138DE12}" type="presParOf" srcId="{E9044B93-130A-4059-BC37-3C74A07F4E71}" destId="{88ADAAB1-4623-451A-954A-31EBA868E35D}" srcOrd="13" destOrd="0" presId="urn:microsoft.com/office/officeart/2005/8/layout/default"/>
    <dgm:cxn modelId="{2DE7B500-DF54-4FF9-8A54-9288C717DB88}" type="presParOf" srcId="{E9044B93-130A-4059-BC37-3C74A07F4E71}" destId="{710F755A-24E0-448E-B737-F053D45E59CC}" srcOrd="1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E1DF0C-A459-49AA-8F8D-34E69D8DBE3E}"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E0696831-9C9B-40D2-BD2E-783AF3330AE1}">
      <dgm:prSet/>
      <dgm:spPr/>
      <dgm:t>
        <a:bodyPr/>
        <a:lstStyle/>
        <a:p>
          <a:r>
            <a:rPr lang="en-US"/>
            <a:t>Introduction to Azure SQL Database</a:t>
          </a:r>
        </a:p>
      </dgm:t>
    </dgm:pt>
    <dgm:pt modelId="{EF98E36F-EC6D-437D-8B81-2E11F3547388}" type="parTrans" cxnId="{9113FC51-1DEE-42C0-B600-9F15DE3D2DE6}">
      <dgm:prSet/>
      <dgm:spPr/>
      <dgm:t>
        <a:bodyPr/>
        <a:lstStyle/>
        <a:p>
          <a:endParaRPr lang="en-US"/>
        </a:p>
      </dgm:t>
    </dgm:pt>
    <dgm:pt modelId="{5845FCB6-2E05-41F7-B7B4-04E949C0EEF6}" type="sibTrans" cxnId="{9113FC51-1DEE-42C0-B600-9F15DE3D2DE6}">
      <dgm:prSet/>
      <dgm:spPr/>
      <dgm:t>
        <a:bodyPr/>
        <a:lstStyle/>
        <a:p>
          <a:endParaRPr lang="en-US"/>
        </a:p>
      </dgm:t>
    </dgm:pt>
    <dgm:pt modelId="{93DB4569-0FA6-4064-94DE-3212720D2FC9}">
      <dgm:prSet/>
      <dgm:spPr/>
      <dgm:t>
        <a:bodyPr/>
        <a:lstStyle/>
        <a:p>
          <a:r>
            <a:rPr lang="en-US"/>
            <a:t>Azure SQL Database Administration</a:t>
          </a:r>
        </a:p>
      </dgm:t>
    </dgm:pt>
    <dgm:pt modelId="{55DF2987-6AD2-4001-B8B4-759294786F03}" type="parTrans" cxnId="{F763FAB9-2712-43B5-A611-54921EA4CF00}">
      <dgm:prSet/>
      <dgm:spPr/>
      <dgm:t>
        <a:bodyPr/>
        <a:lstStyle/>
        <a:p>
          <a:endParaRPr lang="en-US"/>
        </a:p>
      </dgm:t>
    </dgm:pt>
    <dgm:pt modelId="{2B6373C5-D19D-4575-B07F-7D60EDE32460}" type="sibTrans" cxnId="{F763FAB9-2712-43B5-A611-54921EA4CF00}">
      <dgm:prSet/>
      <dgm:spPr/>
      <dgm:t>
        <a:bodyPr/>
        <a:lstStyle/>
        <a:p>
          <a:endParaRPr lang="en-US"/>
        </a:p>
      </dgm:t>
    </dgm:pt>
    <dgm:pt modelId="{1599B2F3-A91D-4481-A220-3CB714A24C13}">
      <dgm:prSet/>
      <dgm:spPr/>
      <dgm:t>
        <a:bodyPr/>
        <a:lstStyle/>
        <a:p>
          <a:r>
            <a:rPr lang="en-US"/>
            <a:t>Azure SQL Database Business Continuity</a:t>
          </a:r>
        </a:p>
      </dgm:t>
    </dgm:pt>
    <dgm:pt modelId="{02A7C7A7-5C91-4BE6-A053-17F9B663DE3C}" type="parTrans" cxnId="{AD1F7147-360A-422B-9224-6A1EBB652C40}">
      <dgm:prSet/>
      <dgm:spPr/>
      <dgm:t>
        <a:bodyPr/>
        <a:lstStyle/>
        <a:p>
          <a:endParaRPr lang="en-US"/>
        </a:p>
      </dgm:t>
    </dgm:pt>
    <dgm:pt modelId="{9FBC0E8C-C023-4F97-8175-D970444F234E}" type="sibTrans" cxnId="{AD1F7147-360A-422B-9224-6A1EBB652C40}">
      <dgm:prSet/>
      <dgm:spPr/>
      <dgm:t>
        <a:bodyPr/>
        <a:lstStyle/>
        <a:p>
          <a:endParaRPr lang="en-US"/>
        </a:p>
      </dgm:t>
    </dgm:pt>
    <dgm:pt modelId="{A7452DFA-FC99-447D-96AA-639B9C40E166}">
      <dgm:prSet/>
      <dgm:spPr/>
      <dgm:t>
        <a:bodyPr/>
        <a:lstStyle/>
        <a:p>
          <a:r>
            <a:rPr lang="en-US"/>
            <a:t>Manage Security for Azure SQL Database</a:t>
          </a:r>
        </a:p>
      </dgm:t>
    </dgm:pt>
    <dgm:pt modelId="{47FD2845-E5EE-4E51-B02F-FBEB9597603D}" type="parTrans" cxnId="{3D9B0DE7-AB65-407F-8BB2-21884BFEDB97}">
      <dgm:prSet/>
      <dgm:spPr/>
      <dgm:t>
        <a:bodyPr/>
        <a:lstStyle/>
        <a:p>
          <a:endParaRPr lang="en-US"/>
        </a:p>
      </dgm:t>
    </dgm:pt>
    <dgm:pt modelId="{4272C2D6-1047-422F-ACF8-B5965000F2EB}" type="sibTrans" cxnId="{3D9B0DE7-AB65-407F-8BB2-21884BFEDB97}">
      <dgm:prSet/>
      <dgm:spPr/>
      <dgm:t>
        <a:bodyPr/>
        <a:lstStyle/>
        <a:p>
          <a:endParaRPr lang="en-US"/>
        </a:p>
      </dgm:t>
    </dgm:pt>
    <dgm:pt modelId="{49B81F95-6BB3-49F7-BF80-949608D0FB60}">
      <dgm:prSet/>
      <dgm:spPr>
        <a:solidFill>
          <a:schemeClr val="hlink"/>
        </a:solidFill>
      </dgm:spPr>
      <dgm:t>
        <a:bodyPr/>
        <a:lstStyle/>
        <a:p>
          <a:r>
            <a:rPr lang="en-US"/>
            <a:t>Monitoring and Tuning Azure SQL Database</a:t>
          </a:r>
        </a:p>
      </dgm:t>
    </dgm:pt>
    <dgm:pt modelId="{B6955025-7737-454E-B037-46D1E6B0BEDB}" type="parTrans" cxnId="{D609D0E1-D45C-44DC-98F0-D98E1E834068}">
      <dgm:prSet/>
      <dgm:spPr/>
      <dgm:t>
        <a:bodyPr/>
        <a:lstStyle/>
        <a:p>
          <a:endParaRPr lang="en-US"/>
        </a:p>
      </dgm:t>
    </dgm:pt>
    <dgm:pt modelId="{ED1C8CA7-CFD8-4B27-939B-4EAEC474C5FF}" type="sibTrans" cxnId="{D609D0E1-D45C-44DC-98F0-D98E1E834068}">
      <dgm:prSet/>
      <dgm:spPr/>
      <dgm:t>
        <a:bodyPr/>
        <a:lstStyle/>
        <a:p>
          <a:endParaRPr lang="en-US"/>
        </a:p>
      </dgm:t>
    </dgm:pt>
    <dgm:pt modelId="{B230E69D-BAC3-4FF8-B001-5584DEA9998D}">
      <dgm:prSet/>
      <dgm:spPr/>
      <dgm:t>
        <a:bodyPr/>
        <a:lstStyle/>
        <a:p>
          <a:r>
            <a:rPr lang="en-US"/>
            <a:t>Azure SQL Database Migration &amp; Sync Data</a:t>
          </a:r>
        </a:p>
      </dgm:t>
    </dgm:pt>
    <dgm:pt modelId="{CF3F77F4-EB7B-4933-A3E0-75192E7F33D5}" type="parTrans" cxnId="{520B2BB1-322D-4ED5-ADC1-2C895821BABC}">
      <dgm:prSet/>
      <dgm:spPr/>
      <dgm:t>
        <a:bodyPr/>
        <a:lstStyle/>
        <a:p>
          <a:endParaRPr lang="en-US"/>
        </a:p>
      </dgm:t>
    </dgm:pt>
    <dgm:pt modelId="{B848F2F4-9C56-43F2-A11E-26D99C0694E0}" type="sibTrans" cxnId="{520B2BB1-322D-4ED5-ADC1-2C895821BABC}">
      <dgm:prSet/>
      <dgm:spPr/>
      <dgm:t>
        <a:bodyPr/>
        <a:lstStyle/>
        <a:p>
          <a:endParaRPr lang="en-US"/>
        </a:p>
      </dgm:t>
    </dgm:pt>
    <dgm:pt modelId="{1E7842A8-BE50-4B8F-915F-0C5B85DC21F8}" type="pres">
      <dgm:prSet presAssocID="{01E1DF0C-A459-49AA-8F8D-34E69D8DBE3E}" presName="diagram" presStyleCnt="0">
        <dgm:presLayoutVars>
          <dgm:dir/>
          <dgm:resizeHandles val="exact"/>
        </dgm:presLayoutVars>
      </dgm:prSet>
      <dgm:spPr/>
    </dgm:pt>
    <dgm:pt modelId="{ED00E67C-3346-4C78-AD3B-8A66CBD2CD4B}" type="pres">
      <dgm:prSet presAssocID="{E0696831-9C9B-40D2-BD2E-783AF3330AE1}" presName="node" presStyleLbl="node1" presStyleIdx="0" presStyleCnt="6">
        <dgm:presLayoutVars>
          <dgm:bulletEnabled val="1"/>
        </dgm:presLayoutVars>
      </dgm:prSet>
      <dgm:spPr/>
    </dgm:pt>
    <dgm:pt modelId="{4D6C400F-3619-41ED-9817-6816E5352B47}" type="pres">
      <dgm:prSet presAssocID="{5845FCB6-2E05-41F7-B7B4-04E949C0EEF6}" presName="sibTrans" presStyleCnt="0"/>
      <dgm:spPr/>
    </dgm:pt>
    <dgm:pt modelId="{1EE9B282-75D8-4351-B82F-267EDC103FDB}" type="pres">
      <dgm:prSet presAssocID="{93DB4569-0FA6-4064-94DE-3212720D2FC9}" presName="node" presStyleLbl="node1" presStyleIdx="1" presStyleCnt="6">
        <dgm:presLayoutVars>
          <dgm:bulletEnabled val="1"/>
        </dgm:presLayoutVars>
      </dgm:prSet>
      <dgm:spPr/>
    </dgm:pt>
    <dgm:pt modelId="{EF04CBA4-EE95-40C9-869E-76C3EC6E7D75}" type="pres">
      <dgm:prSet presAssocID="{2B6373C5-D19D-4575-B07F-7D60EDE32460}" presName="sibTrans" presStyleCnt="0"/>
      <dgm:spPr/>
    </dgm:pt>
    <dgm:pt modelId="{25292D28-4D15-4A62-A656-F607A7C483FF}" type="pres">
      <dgm:prSet presAssocID="{1599B2F3-A91D-4481-A220-3CB714A24C13}" presName="node" presStyleLbl="node1" presStyleIdx="2" presStyleCnt="6">
        <dgm:presLayoutVars>
          <dgm:bulletEnabled val="1"/>
        </dgm:presLayoutVars>
      </dgm:prSet>
      <dgm:spPr/>
    </dgm:pt>
    <dgm:pt modelId="{42413E57-C54A-4D71-B3C8-D56038B8ECC2}" type="pres">
      <dgm:prSet presAssocID="{9FBC0E8C-C023-4F97-8175-D970444F234E}" presName="sibTrans" presStyleCnt="0"/>
      <dgm:spPr/>
    </dgm:pt>
    <dgm:pt modelId="{E566B38C-6433-45B1-BF27-32D33D747B9D}" type="pres">
      <dgm:prSet presAssocID="{A7452DFA-FC99-447D-96AA-639B9C40E166}" presName="node" presStyleLbl="node1" presStyleIdx="3" presStyleCnt="6">
        <dgm:presLayoutVars>
          <dgm:bulletEnabled val="1"/>
        </dgm:presLayoutVars>
      </dgm:prSet>
      <dgm:spPr/>
    </dgm:pt>
    <dgm:pt modelId="{484D6644-1416-45AB-A2BD-643948CD9EF1}" type="pres">
      <dgm:prSet presAssocID="{4272C2D6-1047-422F-ACF8-B5965000F2EB}" presName="sibTrans" presStyleCnt="0"/>
      <dgm:spPr/>
    </dgm:pt>
    <dgm:pt modelId="{F79C6BA9-156D-4C13-8F74-AC388DE7AF53}" type="pres">
      <dgm:prSet presAssocID="{49B81F95-6BB3-49F7-BF80-949608D0FB60}" presName="node" presStyleLbl="node1" presStyleIdx="4" presStyleCnt="6">
        <dgm:presLayoutVars>
          <dgm:bulletEnabled val="1"/>
        </dgm:presLayoutVars>
      </dgm:prSet>
      <dgm:spPr/>
    </dgm:pt>
    <dgm:pt modelId="{8D867CFB-7A81-45E5-AE2B-707496335A8F}" type="pres">
      <dgm:prSet presAssocID="{ED1C8CA7-CFD8-4B27-939B-4EAEC474C5FF}" presName="sibTrans" presStyleCnt="0"/>
      <dgm:spPr/>
    </dgm:pt>
    <dgm:pt modelId="{3779C66D-DC26-4CA6-BE0E-5FC5EE6ECD84}" type="pres">
      <dgm:prSet presAssocID="{B230E69D-BAC3-4FF8-B001-5584DEA9998D}" presName="node" presStyleLbl="node1" presStyleIdx="5" presStyleCnt="6">
        <dgm:presLayoutVars>
          <dgm:bulletEnabled val="1"/>
        </dgm:presLayoutVars>
      </dgm:prSet>
      <dgm:spPr/>
    </dgm:pt>
  </dgm:ptLst>
  <dgm:cxnLst>
    <dgm:cxn modelId="{4D734F17-D48D-4B86-A10B-B06110E31F82}" type="presOf" srcId="{93DB4569-0FA6-4064-94DE-3212720D2FC9}" destId="{1EE9B282-75D8-4351-B82F-267EDC103FDB}" srcOrd="0" destOrd="0" presId="urn:microsoft.com/office/officeart/2005/8/layout/default"/>
    <dgm:cxn modelId="{C63D7536-DA0A-4B02-B706-84D2891B6AA8}" type="presOf" srcId="{A7452DFA-FC99-447D-96AA-639B9C40E166}" destId="{E566B38C-6433-45B1-BF27-32D33D747B9D}" srcOrd="0" destOrd="0" presId="urn:microsoft.com/office/officeart/2005/8/layout/default"/>
    <dgm:cxn modelId="{AD1F7147-360A-422B-9224-6A1EBB652C40}" srcId="{01E1DF0C-A459-49AA-8F8D-34E69D8DBE3E}" destId="{1599B2F3-A91D-4481-A220-3CB714A24C13}" srcOrd="2" destOrd="0" parTransId="{02A7C7A7-5C91-4BE6-A053-17F9B663DE3C}" sibTransId="{9FBC0E8C-C023-4F97-8175-D970444F234E}"/>
    <dgm:cxn modelId="{9113FC51-1DEE-42C0-B600-9F15DE3D2DE6}" srcId="{01E1DF0C-A459-49AA-8F8D-34E69D8DBE3E}" destId="{E0696831-9C9B-40D2-BD2E-783AF3330AE1}" srcOrd="0" destOrd="0" parTransId="{EF98E36F-EC6D-437D-8B81-2E11F3547388}" sibTransId="{5845FCB6-2E05-41F7-B7B4-04E949C0EEF6}"/>
    <dgm:cxn modelId="{14938486-CE89-42B2-B68A-BB20B7609A76}" type="presOf" srcId="{01E1DF0C-A459-49AA-8F8D-34E69D8DBE3E}" destId="{1E7842A8-BE50-4B8F-915F-0C5B85DC21F8}" srcOrd="0" destOrd="0" presId="urn:microsoft.com/office/officeart/2005/8/layout/default"/>
    <dgm:cxn modelId="{945F3CAC-1EC9-48AD-B27D-C5D89544A95D}" type="presOf" srcId="{1599B2F3-A91D-4481-A220-3CB714A24C13}" destId="{25292D28-4D15-4A62-A656-F607A7C483FF}" srcOrd="0" destOrd="0" presId="urn:microsoft.com/office/officeart/2005/8/layout/default"/>
    <dgm:cxn modelId="{520B2BB1-322D-4ED5-ADC1-2C895821BABC}" srcId="{01E1DF0C-A459-49AA-8F8D-34E69D8DBE3E}" destId="{B230E69D-BAC3-4FF8-B001-5584DEA9998D}" srcOrd="5" destOrd="0" parTransId="{CF3F77F4-EB7B-4933-A3E0-75192E7F33D5}" sibTransId="{B848F2F4-9C56-43F2-A11E-26D99C0694E0}"/>
    <dgm:cxn modelId="{551962B2-6D02-4DAA-ABC5-5477FAAC60C2}" type="presOf" srcId="{B230E69D-BAC3-4FF8-B001-5584DEA9998D}" destId="{3779C66D-DC26-4CA6-BE0E-5FC5EE6ECD84}" srcOrd="0" destOrd="0" presId="urn:microsoft.com/office/officeart/2005/8/layout/default"/>
    <dgm:cxn modelId="{F763FAB9-2712-43B5-A611-54921EA4CF00}" srcId="{01E1DF0C-A459-49AA-8F8D-34E69D8DBE3E}" destId="{93DB4569-0FA6-4064-94DE-3212720D2FC9}" srcOrd="1" destOrd="0" parTransId="{55DF2987-6AD2-4001-B8B4-759294786F03}" sibTransId="{2B6373C5-D19D-4575-B07F-7D60EDE32460}"/>
    <dgm:cxn modelId="{D609D0E1-D45C-44DC-98F0-D98E1E834068}" srcId="{01E1DF0C-A459-49AA-8F8D-34E69D8DBE3E}" destId="{49B81F95-6BB3-49F7-BF80-949608D0FB60}" srcOrd="4" destOrd="0" parTransId="{B6955025-7737-454E-B037-46D1E6B0BEDB}" sibTransId="{ED1C8CA7-CFD8-4B27-939B-4EAEC474C5FF}"/>
    <dgm:cxn modelId="{1FB885E3-43FB-42A9-9237-0D9D99386733}" type="presOf" srcId="{49B81F95-6BB3-49F7-BF80-949608D0FB60}" destId="{F79C6BA9-156D-4C13-8F74-AC388DE7AF53}" srcOrd="0" destOrd="0" presId="urn:microsoft.com/office/officeart/2005/8/layout/default"/>
    <dgm:cxn modelId="{3D9B0DE7-AB65-407F-8BB2-21884BFEDB97}" srcId="{01E1DF0C-A459-49AA-8F8D-34E69D8DBE3E}" destId="{A7452DFA-FC99-447D-96AA-639B9C40E166}" srcOrd="3" destOrd="0" parTransId="{47FD2845-E5EE-4E51-B02F-FBEB9597603D}" sibTransId="{4272C2D6-1047-422F-ACF8-B5965000F2EB}"/>
    <dgm:cxn modelId="{5C47A7ED-C807-4495-8604-D37AEAE418C5}" type="presOf" srcId="{E0696831-9C9B-40D2-BD2E-783AF3330AE1}" destId="{ED00E67C-3346-4C78-AD3B-8A66CBD2CD4B}" srcOrd="0" destOrd="0" presId="urn:microsoft.com/office/officeart/2005/8/layout/default"/>
    <dgm:cxn modelId="{A8AEDBEA-F63E-4833-9B09-043C792FFEC0}" type="presParOf" srcId="{1E7842A8-BE50-4B8F-915F-0C5B85DC21F8}" destId="{ED00E67C-3346-4C78-AD3B-8A66CBD2CD4B}" srcOrd="0" destOrd="0" presId="urn:microsoft.com/office/officeart/2005/8/layout/default"/>
    <dgm:cxn modelId="{2E6221AC-961C-4B6D-8A5C-952BB759729F}" type="presParOf" srcId="{1E7842A8-BE50-4B8F-915F-0C5B85DC21F8}" destId="{4D6C400F-3619-41ED-9817-6816E5352B47}" srcOrd="1" destOrd="0" presId="urn:microsoft.com/office/officeart/2005/8/layout/default"/>
    <dgm:cxn modelId="{F0F29D74-C88E-47B5-A699-03B292E3FC99}" type="presParOf" srcId="{1E7842A8-BE50-4B8F-915F-0C5B85DC21F8}" destId="{1EE9B282-75D8-4351-B82F-267EDC103FDB}" srcOrd="2" destOrd="0" presId="urn:microsoft.com/office/officeart/2005/8/layout/default"/>
    <dgm:cxn modelId="{CC9A3E53-1D12-4F52-9BAD-FCBF9ABEF4D4}" type="presParOf" srcId="{1E7842A8-BE50-4B8F-915F-0C5B85DC21F8}" destId="{EF04CBA4-EE95-40C9-869E-76C3EC6E7D75}" srcOrd="3" destOrd="0" presId="urn:microsoft.com/office/officeart/2005/8/layout/default"/>
    <dgm:cxn modelId="{23D5280E-A0EA-4B47-9F4F-43D9B98EED09}" type="presParOf" srcId="{1E7842A8-BE50-4B8F-915F-0C5B85DC21F8}" destId="{25292D28-4D15-4A62-A656-F607A7C483FF}" srcOrd="4" destOrd="0" presId="urn:microsoft.com/office/officeart/2005/8/layout/default"/>
    <dgm:cxn modelId="{8783CFB8-AD8D-4FDF-8D8D-5C8A966E49E9}" type="presParOf" srcId="{1E7842A8-BE50-4B8F-915F-0C5B85DC21F8}" destId="{42413E57-C54A-4D71-B3C8-D56038B8ECC2}" srcOrd="5" destOrd="0" presId="urn:microsoft.com/office/officeart/2005/8/layout/default"/>
    <dgm:cxn modelId="{56A36BF3-EDC9-4FAD-800E-97EB50DCE8E1}" type="presParOf" srcId="{1E7842A8-BE50-4B8F-915F-0C5B85DC21F8}" destId="{E566B38C-6433-45B1-BF27-32D33D747B9D}" srcOrd="6" destOrd="0" presId="urn:microsoft.com/office/officeart/2005/8/layout/default"/>
    <dgm:cxn modelId="{421C7E62-D3B7-4630-BB41-078A4FC6084B}" type="presParOf" srcId="{1E7842A8-BE50-4B8F-915F-0C5B85DC21F8}" destId="{484D6644-1416-45AB-A2BD-643948CD9EF1}" srcOrd="7" destOrd="0" presId="urn:microsoft.com/office/officeart/2005/8/layout/default"/>
    <dgm:cxn modelId="{75139B98-34CB-4579-87FC-C5DDC54A7E3E}" type="presParOf" srcId="{1E7842A8-BE50-4B8F-915F-0C5B85DC21F8}" destId="{F79C6BA9-156D-4C13-8F74-AC388DE7AF53}" srcOrd="8" destOrd="0" presId="urn:microsoft.com/office/officeart/2005/8/layout/default"/>
    <dgm:cxn modelId="{41F627FB-7EE0-4501-927D-03F87B38A74E}" type="presParOf" srcId="{1E7842A8-BE50-4B8F-915F-0C5B85DC21F8}" destId="{8D867CFB-7A81-45E5-AE2B-707496335A8F}" srcOrd="9" destOrd="0" presId="urn:microsoft.com/office/officeart/2005/8/layout/default"/>
    <dgm:cxn modelId="{997F835B-B7D0-4EC4-BF77-8A8ED014488C}" type="presParOf" srcId="{1E7842A8-BE50-4B8F-915F-0C5B85DC21F8}" destId="{3779C66D-DC26-4CA6-BE0E-5FC5EE6ECD84}" srcOrd="10"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1E1DF0C-A459-49AA-8F8D-34E69D8DBE3E}"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US"/>
        </a:p>
      </dgm:t>
    </dgm:pt>
    <dgm:pt modelId="{09C04E09-C1B0-4256-B321-C089008E22CB}">
      <dgm:prSet custT="1"/>
      <dgm:spPr/>
      <dgm:t>
        <a:bodyPr/>
        <a:lstStyle/>
        <a:p>
          <a:r>
            <a:rPr lang="en-US" sz="1800"/>
            <a:t>Introduction to Azure SQL Database</a:t>
          </a:r>
        </a:p>
      </dgm:t>
    </dgm:pt>
    <dgm:pt modelId="{BDC85329-6BFB-4552-AC75-3A507B61F3A6}" type="parTrans" cxnId="{8EF1AAED-CEDB-40B4-9119-24E8E1ACFB3B}">
      <dgm:prSet/>
      <dgm:spPr/>
      <dgm:t>
        <a:bodyPr/>
        <a:lstStyle/>
        <a:p>
          <a:endParaRPr lang="en-US"/>
        </a:p>
      </dgm:t>
    </dgm:pt>
    <dgm:pt modelId="{BD6DF733-6DA6-4F63-847C-3FCE61406E90}" type="sibTrans" cxnId="{8EF1AAED-CEDB-40B4-9119-24E8E1ACFB3B}">
      <dgm:prSet/>
      <dgm:spPr/>
      <dgm:t>
        <a:bodyPr/>
        <a:lstStyle/>
        <a:p>
          <a:endParaRPr lang="en-US"/>
        </a:p>
      </dgm:t>
    </dgm:pt>
    <dgm:pt modelId="{EE2E2FEF-7339-4875-A764-E62DD60D3CA6}">
      <dgm:prSet custT="1"/>
      <dgm:spPr/>
      <dgm:t>
        <a:bodyPr/>
        <a:lstStyle/>
        <a:p>
          <a:r>
            <a:rPr lang="en-US" sz="2000"/>
            <a:t>Basic concepts of Azure SQL Database</a:t>
          </a:r>
        </a:p>
      </dgm:t>
    </dgm:pt>
    <dgm:pt modelId="{0BBCC6EA-D5C7-41C8-BF6A-03714CFD4DCF}" type="parTrans" cxnId="{5A9C91F9-7BD6-4D64-90CA-BA4DFF951CEC}">
      <dgm:prSet/>
      <dgm:spPr/>
      <dgm:t>
        <a:bodyPr/>
        <a:lstStyle/>
        <a:p>
          <a:endParaRPr lang="en-US"/>
        </a:p>
      </dgm:t>
    </dgm:pt>
    <dgm:pt modelId="{8B28A731-6B90-4010-A793-92B316D4FD37}" type="sibTrans" cxnId="{5A9C91F9-7BD6-4D64-90CA-BA4DFF951CEC}">
      <dgm:prSet/>
      <dgm:spPr/>
      <dgm:t>
        <a:bodyPr/>
        <a:lstStyle/>
        <a:p>
          <a:endParaRPr lang="en-US"/>
        </a:p>
      </dgm:t>
    </dgm:pt>
    <dgm:pt modelId="{47626793-9F14-4DFF-BA65-95C1406ADCDF}">
      <dgm:prSet custT="1"/>
      <dgm:spPr>
        <a:solidFill>
          <a:schemeClr val="accent1"/>
        </a:solidFill>
      </dgm:spPr>
      <dgm:t>
        <a:bodyPr/>
        <a:lstStyle/>
        <a:p>
          <a:r>
            <a:rPr lang="en-US" sz="1800" dirty="0"/>
            <a:t>Azure SQL Database Administration</a:t>
          </a:r>
        </a:p>
      </dgm:t>
    </dgm:pt>
    <dgm:pt modelId="{6AC79812-601E-4B18-B07E-A51D54B40154}" type="parTrans" cxnId="{F7D77D97-A756-4EE2-B7DC-A3225CB4D663}">
      <dgm:prSet/>
      <dgm:spPr/>
      <dgm:t>
        <a:bodyPr/>
        <a:lstStyle/>
        <a:p>
          <a:endParaRPr lang="en-US"/>
        </a:p>
      </dgm:t>
    </dgm:pt>
    <dgm:pt modelId="{7F1B9493-5C6E-409F-AA74-9B30B0A9FD56}" type="sibTrans" cxnId="{F7D77D97-A756-4EE2-B7DC-A3225CB4D663}">
      <dgm:prSet/>
      <dgm:spPr/>
      <dgm:t>
        <a:bodyPr/>
        <a:lstStyle/>
        <a:p>
          <a:endParaRPr lang="en-US"/>
        </a:p>
      </dgm:t>
    </dgm:pt>
    <dgm:pt modelId="{7D443B7A-4482-4314-B2A8-BBB7B704B7F9}">
      <dgm:prSet custT="1"/>
      <dgm:spPr/>
      <dgm:t>
        <a:bodyPr/>
        <a:lstStyle/>
        <a:p>
          <a:r>
            <a:rPr lang="en-US" sz="2000"/>
            <a:t>Various Tools to Manage Azure SQL Database</a:t>
          </a:r>
        </a:p>
      </dgm:t>
    </dgm:pt>
    <dgm:pt modelId="{BE41AB8D-6FAB-4977-8FE2-F8DA1B781BA1}" type="parTrans" cxnId="{98EC3A0A-44B7-47D7-A042-B7053BF6800C}">
      <dgm:prSet/>
      <dgm:spPr/>
      <dgm:t>
        <a:bodyPr/>
        <a:lstStyle/>
        <a:p>
          <a:endParaRPr lang="en-US"/>
        </a:p>
      </dgm:t>
    </dgm:pt>
    <dgm:pt modelId="{16DCF86A-C636-41B9-A8EB-87003B6E2E56}" type="sibTrans" cxnId="{98EC3A0A-44B7-47D7-A042-B7053BF6800C}">
      <dgm:prSet/>
      <dgm:spPr/>
      <dgm:t>
        <a:bodyPr/>
        <a:lstStyle/>
        <a:p>
          <a:endParaRPr lang="en-US"/>
        </a:p>
      </dgm:t>
    </dgm:pt>
    <dgm:pt modelId="{AC16576A-D7BC-4EDC-835F-AEB83C85A7F2}">
      <dgm:prSet custT="1"/>
      <dgm:spPr/>
      <dgm:t>
        <a:bodyPr/>
        <a:lstStyle/>
        <a:p>
          <a:r>
            <a:rPr lang="en-US" sz="2000"/>
            <a:t>How to create Azure SQL Database</a:t>
          </a:r>
        </a:p>
      </dgm:t>
    </dgm:pt>
    <dgm:pt modelId="{F74D498D-9456-47F7-BA19-C031FF481AD4}" type="parTrans" cxnId="{ABA63142-C055-4334-8B40-6B5B2CF5AC1F}">
      <dgm:prSet/>
      <dgm:spPr/>
      <dgm:t>
        <a:bodyPr/>
        <a:lstStyle/>
        <a:p>
          <a:endParaRPr lang="en-US"/>
        </a:p>
      </dgm:t>
    </dgm:pt>
    <dgm:pt modelId="{B1DB4953-CB97-4347-9C1E-9E8C3F61D50B}" type="sibTrans" cxnId="{ABA63142-C055-4334-8B40-6B5B2CF5AC1F}">
      <dgm:prSet/>
      <dgm:spPr/>
      <dgm:t>
        <a:bodyPr/>
        <a:lstStyle/>
        <a:p>
          <a:endParaRPr lang="en-US"/>
        </a:p>
      </dgm:t>
    </dgm:pt>
    <dgm:pt modelId="{17D6D2E5-CD1C-4690-9A56-5417AE7EE869}">
      <dgm:prSet custT="1"/>
      <dgm:spPr/>
      <dgm:t>
        <a:bodyPr/>
        <a:lstStyle/>
        <a:p>
          <a:r>
            <a:rPr lang="en-US" sz="2000"/>
            <a:t>Introduction to Elastic Database Pools in Azure SQL Database</a:t>
          </a:r>
        </a:p>
      </dgm:t>
    </dgm:pt>
    <dgm:pt modelId="{5E7A6599-D159-48B2-A0D9-45458F1FC9B3}" type="parTrans" cxnId="{94812992-940D-4374-8954-FA61C9745632}">
      <dgm:prSet/>
      <dgm:spPr/>
      <dgm:t>
        <a:bodyPr/>
        <a:lstStyle/>
        <a:p>
          <a:endParaRPr lang="en-US"/>
        </a:p>
      </dgm:t>
    </dgm:pt>
    <dgm:pt modelId="{EA8E3153-B7EA-4FBD-A199-1A5FB46E4E10}" type="sibTrans" cxnId="{94812992-940D-4374-8954-FA61C9745632}">
      <dgm:prSet/>
      <dgm:spPr/>
      <dgm:t>
        <a:bodyPr/>
        <a:lstStyle/>
        <a:p>
          <a:endParaRPr lang="en-US"/>
        </a:p>
      </dgm:t>
    </dgm:pt>
    <dgm:pt modelId="{C70530F2-31D0-46DA-86E4-9D1DFB649B1D}">
      <dgm:prSet custT="1"/>
      <dgm:spPr/>
      <dgm:t>
        <a:bodyPr/>
        <a:lstStyle/>
        <a:p>
          <a:r>
            <a:rPr lang="en-US" sz="2000"/>
            <a:t>The difference between SQL Server IaaS and PaaS Solutions</a:t>
          </a:r>
        </a:p>
      </dgm:t>
    </dgm:pt>
    <dgm:pt modelId="{740412B7-7B44-453B-A594-87146F493D39}" type="parTrans" cxnId="{1FB13CA3-1A4C-4DE5-8E21-CC1E9F2546BE}">
      <dgm:prSet/>
      <dgm:spPr/>
      <dgm:t>
        <a:bodyPr/>
        <a:lstStyle/>
        <a:p>
          <a:endParaRPr lang="en-US"/>
        </a:p>
      </dgm:t>
    </dgm:pt>
    <dgm:pt modelId="{B68E5680-7941-4357-A7CC-5BC4461BD7BA}" type="sibTrans" cxnId="{1FB13CA3-1A4C-4DE5-8E21-CC1E9F2546BE}">
      <dgm:prSet/>
      <dgm:spPr/>
      <dgm:t>
        <a:bodyPr/>
        <a:lstStyle/>
        <a:p>
          <a:endParaRPr lang="en-US"/>
        </a:p>
      </dgm:t>
    </dgm:pt>
    <dgm:pt modelId="{A637FD76-2044-4E51-84C8-76F7DA8FBCFB}">
      <dgm:prSet custT="1"/>
      <dgm:spPr/>
      <dgm:t>
        <a:bodyPr/>
        <a:lstStyle/>
        <a:p>
          <a:r>
            <a:rPr lang="en-US" sz="2000"/>
            <a:t>Scaling Azure SQL Databases Up and Down</a:t>
          </a:r>
        </a:p>
      </dgm:t>
    </dgm:pt>
    <dgm:pt modelId="{49AB46AA-526B-4114-9430-BA0C2B1B0C68}" type="parTrans" cxnId="{2138F1BB-B27C-4941-8920-01A65FDEA723}">
      <dgm:prSet/>
      <dgm:spPr/>
      <dgm:t>
        <a:bodyPr/>
        <a:lstStyle/>
        <a:p>
          <a:endParaRPr lang="en-US"/>
        </a:p>
      </dgm:t>
    </dgm:pt>
    <dgm:pt modelId="{FB5B54B4-13A8-41EE-90BC-B9D1356A10B3}" type="sibTrans" cxnId="{2138F1BB-B27C-4941-8920-01A65FDEA723}">
      <dgm:prSet/>
      <dgm:spPr/>
      <dgm:t>
        <a:bodyPr/>
        <a:lstStyle/>
        <a:p>
          <a:endParaRPr lang="en-US"/>
        </a:p>
      </dgm:t>
    </dgm:pt>
    <dgm:pt modelId="{5B2EF657-B359-4E34-ADC0-67051DC6D903}">
      <dgm:prSet custT="1"/>
      <dgm:spPr/>
      <dgm:t>
        <a:bodyPr/>
        <a:lstStyle/>
        <a:p>
          <a:r>
            <a:rPr lang="en-US" sz="2000"/>
            <a:t>Maintenance and Scheduling Jobs in Azure SQL Database</a:t>
          </a:r>
        </a:p>
      </dgm:t>
    </dgm:pt>
    <dgm:pt modelId="{D69967F4-C502-45FB-9483-4E486E0DF34A}" type="parTrans" cxnId="{2ADADF30-414E-4252-8430-C1224CDC59D4}">
      <dgm:prSet/>
      <dgm:spPr/>
      <dgm:t>
        <a:bodyPr/>
        <a:lstStyle/>
        <a:p>
          <a:endParaRPr lang="en-US"/>
        </a:p>
      </dgm:t>
    </dgm:pt>
    <dgm:pt modelId="{DFFCAE49-D42A-4B91-BC43-280C8D8BDE70}" type="sibTrans" cxnId="{2ADADF30-414E-4252-8430-C1224CDC59D4}">
      <dgm:prSet/>
      <dgm:spPr/>
      <dgm:t>
        <a:bodyPr/>
        <a:lstStyle/>
        <a:p>
          <a:endParaRPr lang="en-US"/>
        </a:p>
      </dgm:t>
    </dgm:pt>
    <dgm:pt modelId="{733E52CC-5C7A-441A-BF47-26D84FA51511}">
      <dgm:prSet custT="1"/>
      <dgm:spPr/>
      <dgm:t>
        <a:bodyPr/>
        <a:lstStyle/>
        <a:p>
          <a:r>
            <a:rPr lang="en-US" sz="2000"/>
            <a:t>Azure SQL Database Read Scale-Out</a:t>
          </a:r>
        </a:p>
      </dgm:t>
    </dgm:pt>
    <dgm:pt modelId="{402A2227-E1CF-493B-B22E-FA1030BFDF5B}" type="parTrans" cxnId="{74DD3B35-DA84-4C11-9FEA-969A3ACCD679}">
      <dgm:prSet/>
      <dgm:spPr/>
      <dgm:t>
        <a:bodyPr/>
        <a:lstStyle/>
        <a:p>
          <a:endParaRPr lang="en-US"/>
        </a:p>
      </dgm:t>
    </dgm:pt>
    <dgm:pt modelId="{580056A8-D430-4DBA-BBD6-F2227507A9FD}" type="sibTrans" cxnId="{74DD3B35-DA84-4C11-9FEA-969A3ACCD679}">
      <dgm:prSet/>
      <dgm:spPr/>
      <dgm:t>
        <a:bodyPr/>
        <a:lstStyle/>
        <a:p>
          <a:endParaRPr lang="en-US"/>
        </a:p>
      </dgm:t>
    </dgm:pt>
    <dgm:pt modelId="{5BC879F3-9ED2-4DEC-821A-E3D862EB1227}">
      <dgm:prSet custT="1"/>
      <dgm:spPr/>
      <dgm:t>
        <a:bodyPr/>
        <a:lstStyle/>
        <a:p>
          <a:endParaRPr lang="en-US" sz="2000"/>
        </a:p>
      </dgm:t>
    </dgm:pt>
    <dgm:pt modelId="{F74548CF-06FA-4130-89A5-8DC2A3D92E1E}" type="parTrans" cxnId="{F6BE905C-3360-4232-9C6B-3091EFA215D7}">
      <dgm:prSet/>
      <dgm:spPr/>
      <dgm:t>
        <a:bodyPr/>
        <a:lstStyle/>
        <a:p>
          <a:endParaRPr lang="en-US"/>
        </a:p>
      </dgm:t>
    </dgm:pt>
    <dgm:pt modelId="{5EB83F99-C4D9-4A11-B9F5-020F4F62FD08}" type="sibTrans" cxnId="{F6BE905C-3360-4232-9C6B-3091EFA215D7}">
      <dgm:prSet/>
      <dgm:spPr/>
      <dgm:t>
        <a:bodyPr/>
        <a:lstStyle/>
        <a:p>
          <a:endParaRPr lang="en-US"/>
        </a:p>
      </dgm:t>
    </dgm:pt>
    <dgm:pt modelId="{207348CA-0BC1-4B5D-9C40-EBFB436190C5}" type="pres">
      <dgm:prSet presAssocID="{01E1DF0C-A459-49AA-8F8D-34E69D8DBE3E}" presName="Name0" presStyleCnt="0">
        <dgm:presLayoutVars>
          <dgm:dir/>
          <dgm:animLvl val="lvl"/>
          <dgm:resizeHandles val="exact"/>
        </dgm:presLayoutVars>
      </dgm:prSet>
      <dgm:spPr/>
    </dgm:pt>
    <dgm:pt modelId="{7039BBD8-B71E-4BA2-AAF6-8BC2088C2810}" type="pres">
      <dgm:prSet presAssocID="{09C04E09-C1B0-4256-B321-C089008E22CB}" presName="composite" presStyleCnt="0"/>
      <dgm:spPr/>
    </dgm:pt>
    <dgm:pt modelId="{B2B0DB31-4ED1-4C3F-B655-2557DD74A518}" type="pres">
      <dgm:prSet presAssocID="{09C04E09-C1B0-4256-B321-C089008E22CB}" presName="parTx" presStyleLbl="node1" presStyleIdx="0" presStyleCnt="2">
        <dgm:presLayoutVars>
          <dgm:chMax val="0"/>
          <dgm:chPref val="0"/>
          <dgm:bulletEnabled val="1"/>
        </dgm:presLayoutVars>
      </dgm:prSet>
      <dgm:spPr/>
    </dgm:pt>
    <dgm:pt modelId="{CC569C0E-88D0-41CC-BB6F-A580ED282FAB}" type="pres">
      <dgm:prSet presAssocID="{09C04E09-C1B0-4256-B321-C089008E22CB}" presName="desTx" presStyleLbl="revTx" presStyleIdx="0" presStyleCnt="2">
        <dgm:presLayoutVars>
          <dgm:bulletEnabled val="1"/>
        </dgm:presLayoutVars>
      </dgm:prSet>
      <dgm:spPr/>
    </dgm:pt>
    <dgm:pt modelId="{2A6BD98A-BA61-4C8D-95ED-017915395AE1}" type="pres">
      <dgm:prSet presAssocID="{BD6DF733-6DA6-4F63-847C-3FCE61406E90}" presName="space" presStyleCnt="0"/>
      <dgm:spPr/>
    </dgm:pt>
    <dgm:pt modelId="{CBA4723F-67A5-4E32-B388-672A256F9A92}" type="pres">
      <dgm:prSet presAssocID="{47626793-9F14-4DFF-BA65-95C1406ADCDF}" presName="composite" presStyleCnt="0"/>
      <dgm:spPr/>
    </dgm:pt>
    <dgm:pt modelId="{5B33C689-FB55-4987-A44E-07F71802C419}" type="pres">
      <dgm:prSet presAssocID="{47626793-9F14-4DFF-BA65-95C1406ADCDF}" presName="parTx" presStyleLbl="node1" presStyleIdx="1" presStyleCnt="2">
        <dgm:presLayoutVars>
          <dgm:chMax val="0"/>
          <dgm:chPref val="0"/>
          <dgm:bulletEnabled val="1"/>
        </dgm:presLayoutVars>
      </dgm:prSet>
      <dgm:spPr/>
    </dgm:pt>
    <dgm:pt modelId="{66E57457-1C32-44CB-A934-D3009B329B86}" type="pres">
      <dgm:prSet presAssocID="{47626793-9F14-4DFF-BA65-95C1406ADCDF}" presName="desTx" presStyleLbl="revTx" presStyleIdx="1" presStyleCnt="2">
        <dgm:presLayoutVars>
          <dgm:bulletEnabled val="1"/>
        </dgm:presLayoutVars>
      </dgm:prSet>
      <dgm:spPr/>
    </dgm:pt>
  </dgm:ptLst>
  <dgm:cxnLst>
    <dgm:cxn modelId="{98EC3A0A-44B7-47D7-A042-B7053BF6800C}" srcId="{47626793-9F14-4DFF-BA65-95C1406ADCDF}" destId="{7D443B7A-4482-4314-B2A8-BBB7B704B7F9}" srcOrd="0" destOrd="0" parTransId="{BE41AB8D-6FAB-4977-8FE2-F8DA1B781BA1}" sibTransId="{16DCF86A-C636-41B9-A8EB-87003B6E2E56}"/>
    <dgm:cxn modelId="{A97B8518-6D6D-46CE-8C3C-8A65BB9B7E09}" type="presOf" srcId="{EE2E2FEF-7339-4875-A764-E62DD60D3CA6}" destId="{CC569C0E-88D0-41CC-BB6F-A580ED282FAB}" srcOrd="0" destOrd="0" presId="urn:microsoft.com/office/officeart/2005/8/layout/chevron1"/>
    <dgm:cxn modelId="{A49CB82C-01A0-48F8-9432-3A8E7C31D7F1}" type="presOf" srcId="{733E52CC-5C7A-441A-BF47-26D84FA51511}" destId="{66E57457-1C32-44CB-A934-D3009B329B86}" srcOrd="0" destOrd="3" presId="urn:microsoft.com/office/officeart/2005/8/layout/chevron1"/>
    <dgm:cxn modelId="{2ADADF30-414E-4252-8430-C1224CDC59D4}" srcId="{47626793-9F14-4DFF-BA65-95C1406ADCDF}" destId="{5B2EF657-B359-4E34-ADC0-67051DC6D903}" srcOrd="2" destOrd="0" parTransId="{D69967F4-C502-45FB-9483-4E486E0DF34A}" sibTransId="{DFFCAE49-D42A-4B91-BC43-280C8D8BDE70}"/>
    <dgm:cxn modelId="{94539C31-52D2-4C95-B26C-3808561EBBF6}" type="presOf" srcId="{5B2EF657-B359-4E34-ADC0-67051DC6D903}" destId="{66E57457-1C32-44CB-A934-D3009B329B86}" srcOrd="0" destOrd="2" presId="urn:microsoft.com/office/officeart/2005/8/layout/chevron1"/>
    <dgm:cxn modelId="{74DD3B35-DA84-4C11-9FEA-969A3ACCD679}" srcId="{47626793-9F14-4DFF-BA65-95C1406ADCDF}" destId="{733E52CC-5C7A-441A-BF47-26D84FA51511}" srcOrd="3" destOrd="0" parTransId="{402A2227-E1CF-493B-B22E-FA1030BFDF5B}" sibTransId="{580056A8-D430-4DBA-BBD6-F2227507A9FD}"/>
    <dgm:cxn modelId="{F6BE905C-3360-4232-9C6B-3091EFA215D7}" srcId="{47626793-9F14-4DFF-BA65-95C1406ADCDF}" destId="{5BC879F3-9ED2-4DEC-821A-E3D862EB1227}" srcOrd="4" destOrd="0" parTransId="{F74548CF-06FA-4130-89A5-8DC2A3D92E1E}" sibTransId="{5EB83F99-C4D9-4A11-B9F5-020F4F62FD08}"/>
    <dgm:cxn modelId="{ABA63142-C055-4334-8B40-6B5B2CF5AC1F}" srcId="{09C04E09-C1B0-4256-B321-C089008E22CB}" destId="{AC16576A-D7BC-4EDC-835F-AEB83C85A7F2}" srcOrd="1" destOrd="0" parTransId="{F74D498D-9456-47F7-BA19-C031FF481AD4}" sibTransId="{B1DB4953-CB97-4347-9C1E-9E8C3F61D50B}"/>
    <dgm:cxn modelId="{08966648-BC3B-4E9E-8D19-FB677B9D9BCA}" type="presOf" srcId="{09C04E09-C1B0-4256-B321-C089008E22CB}" destId="{B2B0DB31-4ED1-4C3F-B655-2557DD74A518}" srcOrd="0" destOrd="0" presId="urn:microsoft.com/office/officeart/2005/8/layout/chevron1"/>
    <dgm:cxn modelId="{3F77356C-E77A-4B2B-85D9-EFC457FA2351}" type="presOf" srcId="{A637FD76-2044-4E51-84C8-76F7DA8FBCFB}" destId="{66E57457-1C32-44CB-A934-D3009B329B86}" srcOrd="0" destOrd="1" presId="urn:microsoft.com/office/officeart/2005/8/layout/chevron1"/>
    <dgm:cxn modelId="{72C3A772-051A-4860-9129-4B85B2D6B360}" type="presOf" srcId="{5BC879F3-9ED2-4DEC-821A-E3D862EB1227}" destId="{66E57457-1C32-44CB-A934-D3009B329B86}" srcOrd="0" destOrd="4" presId="urn:microsoft.com/office/officeart/2005/8/layout/chevron1"/>
    <dgm:cxn modelId="{33F71553-3F78-4F3E-B2C1-E1BB0824DB05}" type="presOf" srcId="{47626793-9F14-4DFF-BA65-95C1406ADCDF}" destId="{5B33C689-FB55-4987-A44E-07F71802C419}" srcOrd="0" destOrd="0" presId="urn:microsoft.com/office/officeart/2005/8/layout/chevron1"/>
    <dgm:cxn modelId="{F2DECE82-5AD1-42AB-83A8-2568B431699B}" type="presOf" srcId="{7D443B7A-4482-4314-B2A8-BBB7B704B7F9}" destId="{66E57457-1C32-44CB-A934-D3009B329B86}" srcOrd="0" destOrd="0" presId="urn:microsoft.com/office/officeart/2005/8/layout/chevron1"/>
    <dgm:cxn modelId="{94812992-940D-4374-8954-FA61C9745632}" srcId="{09C04E09-C1B0-4256-B321-C089008E22CB}" destId="{17D6D2E5-CD1C-4690-9A56-5417AE7EE869}" srcOrd="2" destOrd="0" parTransId="{5E7A6599-D159-48B2-A0D9-45458F1FC9B3}" sibTransId="{EA8E3153-B7EA-4FBD-A199-1A5FB46E4E10}"/>
    <dgm:cxn modelId="{81D6A793-7565-4C54-965A-4FA8E8B45DB4}" type="presOf" srcId="{C70530F2-31D0-46DA-86E4-9D1DFB649B1D}" destId="{CC569C0E-88D0-41CC-BB6F-A580ED282FAB}" srcOrd="0" destOrd="3" presId="urn:microsoft.com/office/officeart/2005/8/layout/chevron1"/>
    <dgm:cxn modelId="{F7D77D97-A756-4EE2-B7DC-A3225CB4D663}" srcId="{01E1DF0C-A459-49AA-8F8D-34E69D8DBE3E}" destId="{47626793-9F14-4DFF-BA65-95C1406ADCDF}" srcOrd="1" destOrd="0" parTransId="{6AC79812-601E-4B18-B07E-A51D54B40154}" sibTransId="{7F1B9493-5C6E-409F-AA74-9B30B0A9FD56}"/>
    <dgm:cxn modelId="{1FB13CA3-1A4C-4DE5-8E21-CC1E9F2546BE}" srcId="{09C04E09-C1B0-4256-B321-C089008E22CB}" destId="{C70530F2-31D0-46DA-86E4-9D1DFB649B1D}" srcOrd="3" destOrd="0" parTransId="{740412B7-7B44-453B-A594-87146F493D39}" sibTransId="{B68E5680-7941-4357-A7CC-5BC4461BD7BA}"/>
    <dgm:cxn modelId="{B94653A3-76EE-443B-8903-575D637BCF08}" type="presOf" srcId="{01E1DF0C-A459-49AA-8F8D-34E69D8DBE3E}" destId="{207348CA-0BC1-4B5D-9C40-EBFB436190C5}" srcOrd="0" destOrd="0" presId="urn:microsoft.com/office/officeart/2005/8/layout/chevron1"/>
    <dgm:cxn modelId="{70019CA5-9A06-4053-BF52-F33C9E6DDB71}" type="presOf" srcId="{AC16576A-D7BC-4EDC-835F-AEB83C85A7F2}" destId="{CC569C0E-88D0-41CC-BB6F-A580ED282FAB}" srcOrd="0" destOrd="1" presId="urn:microsoft.com/office/officeart/2005/8/layout/chevron1"/>
    <dgm:cxn modelId="{2138F1BB-B27C-4941-8920-01A65FDEA723}" srcId="{47626793-9F14-4DFF-BA65-95C1406ADCDF}" destId="{A637FD76-2044-4E51-84C8-76F7DA8FBCFB}" srcOrd="1" destOrd="0" parTransId="{49AB46AA-526B-4114-9430-BA0C2B1B0C68}" sibTransId="{FB5B54B4-13A8-41EE-90BC-B9D1356A10B3}"/>
    <dgm:cxn modelId="{B1888BD2-1062-4A40-87B0-B93B98FF0E5C}" type="presOf" srcId="{17D6D2E5-CD1C-4690-9A56-5417AE7EE869}" destId="{CC569C0E-88D0-41CC-BB6F-A580ED282FAB}" srcOrd="0" destOrd="2" presId="urn:microsoft.com/office/officeart/2005/8/layout/chevron1"/>
    <dgm:cxn modelId="{8EF1AAED-CEDB-40B4-9119-24E8E1ACFB3B}" srcId="{01E1DF0C-A459-49AA-8F8D-34E69D8DBE3E}" destId="{09C04E09-C1B0-4256-B321-C089008E22CB}" srcOrd="0" destOrd="0" parTransId="{BDC85329-6BFB-4552-AC75-3A507B61F3A6}" sibTransId="{BD6DF733-6DA6-4F63-847C-3FCE61406E90}"/>
    <dgm:cxn modelId="{5A9C91F9-7BD6-4D64-90CA-BA4DFF951CEC}" srcId="{09C04E09-C1B0-4256-B321-C089008E22CB}" destId="{EE2E2FEF-7339-4875-A764-E62DD60D3CA6}" srcOrd="0" destOrd="0" parTransId="{0BBCC6EA-D5C7-41C8-BF6A-03714CFD4DCF}" sibTransId="{8B28A731-6B90-4010-A793-92B316D4FD37}"/>
    <dgm:cxn modelId="{AA7BA5EF-1E10-404B-BC54-A16B77298CB1}" type="presParOf" srcId="{207348CA-0BC1-4B5D-9C40-EBFB436190C5}" destId="{7039BBD8-B71E-4BA2-AAF6-8BC2088C2810}" srcOrd="0" destOrd="0" presId="urn:microsoft.com/office/officeart/2005/8/layout/chevron1"/>
    <dgm:cxn modelId="{F00149E9-4758-4441-9C11-3C843ED62B81}" type="presParOf" srcId="{7039BBD8-B71E-4BA2-AAF6-8BC2088C2810}" destId="{B2B0DB31-4ED1-4C3F-B655-2557DD74A518}" srcOrd="0" destOrd="0" presId="urn:microsoft.com/office/officeart/2005/8/layout/chevron1"/>
    <dgm:cxn modelId="{BA7F3F94-99A5-4FFD-B075-764A65E3E35C}" type="presParOf" srcId="{7039BBD8-B71E-4BA2-AAF6-8BC2088C2810}" destId="{CC569C0E-88D0-41CC-BB6F-A580ED282FAB}" srcOrd="1" destOrd="0" presId="urn:microsoft.com/office/officeart/2005/8/layout/chevron1"/>
    <dgm:cxn modelId="{59D3B418-C515-4DCB-A161-98AEDE1DC035}" type="presParOf" srcId="{207348CA-0BC1-4B5D-9C40-EBFB436190C5}" destId="{2A6BD98A-BA61-4C8D-95ED-017915395AE1}" srcOrd="1" destOrd="0" presId="urn:microsoft.com/office/officeart/2005/8/layout/chevron1"/>
    <dgm:cxn modelId="{4FBB6A42-D986-4C91-8656-DA7B7B7ACD6A}" type="presParOf" srcId="{207348CA-0BC1-4B5D-9C40-EBFB436190C5}" destId="{CBA4723F-67A5-4E32-B388-672A256F9A92}" srcOrd="2" destOrd="0" presId="urn:microsoft.com/office/officeart/2005/8/layout/chevron1"/>
    <dgm:cxn modelId="{06E9E4FE-EAC0-4368-9ABF-E00D51A072B9}" type="presParOf" srcId="{CBA4723F-67A5-4E32-B388-672A256F9A92}" destId="{5B33C689-FB55-4987-A44E-07F71802C419}" srcOrd="0" destOrd="0" presId="urn:microsoft.com/office/officeart/2005/8/layout/chevron1"/>
    <dgm:cxn modelId="{35D02BAC-892E-49DE-80EA-301B7328B3E1}" type="presParOf" srcId="{CBA4723F-67A5-4E32-B388-672A256F9A92}" destId="{66E57457-1C32-44CB-A934-D3009B329B86}" srcOrd="1" destOrd="0" presId="urn:microsoft.com/office/officeart/2005/8/layout/chevron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1E1DF0C-A459-49AA-8F8D-34E69D8DBE3E}" type="doc">
      <dgm:prSet loTypeId="urn:microsoft.com/office/officeart/2005/8/layout/chevron1" loCatId="process" qsTypeId="urn:microsoft.com/office/officeart/2005/8/quickstyle/simple1" qsCatId="simple" csTypeId="urn:microsoft.com/office/officeart/2005/8/colors/colorful1" csCatId="colorful" phldr="1"/>
      <dgm:spPr/>
      <dgm:t>
        <a:bodyPr/>
        <a:lstStyle/>
        <a:p>
          <a:endParaRPr lang="en-US"/>
        </a:p>
      </dgm:t>
    </dgm:pt>
    <dgm:pt modelId="{C6DA5BFE-9C7E-405F-AAB1-AA9EFD5C6AFB}">
      <dgm:prSet custT="1"/>
      <dgm:spPr/>
      <dgm:t>
        <a:bodyPr/>
        <a:lstStyle/>
        <a:p>
          <a:r>
            <a:rPr lang="en-US" sz="1800"/>
            <a:t>Azure SQL Database Business Continuity</a:t>
          </a:r>
        </a:p>
      </dgm:t>
    </dgm:pt>
    <dgm:pt modelId="{843247C1-A547-45D4-8938-2DE4017ACDAE}" type="parTrans" cxnId="{33E8CA36-0BB3-470F-95CB-6B9E54F602CD}">
      <dgm:prSet/>
      <dgm:spPr/>
      <dgm:t>
        <a:bodyPr/>
        <a:lstStyle/>
        <a:p>
          <a:endParaRPr lang="en-US"/>
        </a:p>
      </dgm:t>
    </dgm:pt>
    <dgm:pt modelId="{CD78039F-7D74-4FB0-AFDD-06DD8FE69503}" type="sibTrans" cxnId="{33E8CA36-0BB3-470F-95CB-6B9E54F602CD}">
      <dgm:prSet/>
      <dgm:spPr/>
      <dgm:t>
        <a:bodyPr/>
        <a:lstStyle/>
        <a:p>
          <a:endParaRPr lang="en-US"/>
        </a:p>
      </dgm:t>
    </dgm:pt>
    <dgm:pt modelId="{83F2CE3E-5C1E-460E-95D8-2F69D9F51388}">
      <dgm:prSet custT="1"/>
      <dgm:spPr/>
      <dgm:t>
        <a:bodyPr/>
        <a:lstStyle/>
        <a:p>
          <a:r>
            <a:rPr lang="en-US" sz="1800"/>
            <a:t>Business Continuity Features in Azure SQL Database</a:t>
          </a:r>
        </a:p>
      </dgm:t>
    </dgm:pt>
    <dgm:pt modelId="{565D7198-DDCA-4676-B0DC-0B6C8A9FCFE8}" type="parTrans" cxnId="{6F0BFBDD-99D7-4188-9259-691B95EC6CE8}">
      <dgm:prSet/>
      <dgm:spPr/>
      <dgm:t>
        <a:bodyPr/>
        <a:lstStyle/>
        <a:p>
          <a:endParaRPr lang="en-US"/>
        </a:p>
      </dgm:t>
    </dgm:pt>
    <dgm:pt modelId="{4DC5636C-974C-40E1-876C-38F8F27BC9BB}" type="sibTrans" cxnId="{6F0BFBDD-99D7-4188-9259-691B95EC6CE8}">
      <dgm:prSet/>
      <dgm:spPr/>
      <dgm:t>
        <a:bodyPr/>
        <a:lstStyle/>
        <a:p>
          <a:endParaRPr lang="en-US"/>
        </a:p>
      </dgm:t>
    </dgm:pt>
    <dgm:pt modelId="{CAF037FA-CF53-4844-A3E8-B5DD7DE24ECC}">
      <dgm:prSet custT="1"/>
      <dgm:spPr/>
      <dgm:t>
        <a:bodyPr/>
        <a:lstStyle/>
        <a:p>
          <a:r>
            <a:rPr lang="en-US" sz="1800"/>
            <a:t>Disaster Recovery Features in Azure SQL Database</a:t>
          </a:r>
        </a:p>
      </dgm:t>
    </dgm:pt>
    <dgm:pt modelId="{6479EB17-BF81-4DF7-B30A-B226D7A75595}" type="parTrans" cxnId="{BECD2A05-CD7D-4E58-86A4-8F8EEEC86284}">
      <dgm:prSet/>
      <dgm:spPr/>
      <dgm:t>
        <a:bodyPr/>
        <a:lstStyle/>
        <a:p>
          <a:endParaRPr lang="en-US"/>
        </a:p>
      </dgm:t>
    </dgm:pt>
    <dgm:pt modelId="{DF431695-EA9D-4277-AB73-5DCB45A2C9A9}" type="sibTrans" cxnId="{BECD2A05-CD7D-4E58-86A4-8F8EEEC86284}">
      <dgm:prSet/>
      <dgm:spPr/>
      <dgm:t>
        <a:bodyPr/>
        <a:lstStyle/>
        <a:p>
          <a:endParaRPr lang="en-US"/>
        </a:p>
      </dgm:t>
    </dgm:pt>
    <dgm:pt modelId="{AE49764E-7B70-4DB5-93D9-A6F0E22FC068}">
      <dgm:prSet custT="1"/>
      <dgm:spPr>
        <a:solidFill>
          <a:schemeClr val="accent1"/>
        </a:solidFill>
      </dgm:spPr>
      <dgm:t>
        <a:bodyPr/>
        <a:lstStyle/>
        <a:p>
          <a:r>
            <a:rPr lang="en-US" sz="1800" b="0">
              <a:latin typeface="+mn-lt"/>
              <a:ea typeface="Calibri" panose="020F0502020204030204" pitchFamily="34" charset="0"/>
              <a:cs typeface="Times New Roman" panose="02020603050405020304" pitchFamily="18" charset="0"/>
            </a:rPr>
            <a:t>Manage Security for Azure SQL Database</a:t>
          </a:r>
          <a:endParaRPr lang="en-US" sz="1800" b="0">
            <a:latin typeface="+mn-lt"/>
          </a:endParaRPr>
        </a:p>
      </dgm:t>
    </dgm:pt>
    <dgm:pt modelId="{1FF94808-8485-492C-9FA0-01A2796A3139}" type="parTrans" cxnId="{97E21C66-22F9-48C3-A4A8-5F48D97B6296}">
      <dgm:prSet/>
      <dgm:spPr/>
      <dgm:t>
        <a:bodyPr/>
        <a:lstStyle/>
        <a:p>
          <a:endParaRPr lang="en-US"/>
        </a:p>
      </dgm:t>
    </dgm:pt>
    <dgm:pt modelId="{E1CE6976-3C48-487E-B43E-DC7DEF3CD031}" type="sibTrans" cxnId="{97E21C66-22F9-48C3-A4A8-5F48D97B6296}">
      <dgm:prSet/>
      <dgm:spPr/>
      <dgm:t>
        <a:bodyPr/>
        <a:lstStyle/>
        <a:p>
          <a:endParaRPr lang="en-US"/>
        </a:p>
      </dgm:t>
    </dgm:pt>
    <dgm:pt modelId="{2F208917-6925-41AF-8C1E-2CC12AC4BA25}">
      <dgm:prSet custT="1"/>
      <dgm:spPr/>
      <dgm:t>
        <a:bodyPr/>
        <a:lstStyle/>
        <a:p>
          <a:r>
            <a:rPr lang="en-US" sz="1400"/>
            <a:t>Introduction to Azure SQL Database Security</a:t>
          </a:r>
        </a:p>
      </dgm:t>
    </dgm:pt>
    <dgm:pt modelId="{13E81416-A4B0-4F41-960D-54B20AC11913}" type="parTrans" cxnId="{2AF5607F-57F3-4983-9609-CD02BA165F96}">
      <dgm:prSet/>
      <dgm:spPr/>
      <dgm:t>
        <a:bodyPr/>
        <a:lstStyle/>
        <a:p>
          <a:endParaRPr lang="en-US"/>
        </a:p>
      </dgm:t>
    </dgm:pt>
    <dgm:pt modelId="{7AD2872D-6997-4747-815A-DFEFDCD0FD7B}" type="sibTrans" cxnId="{2AF5607F-57F3-4983-9609-CD02BA165F96}">
      <dgm:prSet/>
      <dgm:spPr/>
      <dgm:t>
        <a:bodyPr/>
        <a:lstStyle/>
        <a:p>
          <a:endParaRPr lang="en-US"/>
        </a:p>
      </dgm:t>
    </dgm:pt>
    <dgm:pt modelId="{EEF3342D-DB6B-46DF-882A-8A23073C33AF}">
      <dgm:prSet custT="1"/>
      <dgm:spPr/>
      <dgm:t>
        <a:bodyPr/>
        <a:lstStyle/>
        <a:p>
          <a:r>
            <a:rPr lang="en-US" sz="1400"/>
            <a:t>Implement Azure Active Directory Security</a:t>
          </a:r>
        </a:p>
      </dgm:t>
    </dgm:pt>
    <dgm:pt modelId="{EAC53E87-74DD-44DB-97BB-E2EBF28FDF33}" type="parTrans" cxnId="{5D0CF4D4-35B1-4C83-A306-9A381F014708}">
      <dgm:prSet/>
      <dgm:spPr/>
      <dgm:t>
        <a:bodyPr/>
        <a:lstStyle/>
        <a:p>
          <a:endParaRPr lang="en-US"/>
        </a:p>
      </dgm:t>
    </dgm:pt>
    <dgm:pt modelId="{C3C7F480-D6B1-4664-8D94-C543898D9D9A}" type="sibTrans" cxnId="{5D0CF4D4-35B1-4C83-A306-9A381F014708}">
      <dgm:prSet/>
      <dgm:spPr/>
      <dgm:t>
        <a:bodyPr/>
        <a:lstStyle/>
        <a:p>
          <a:endParaRPr lang="en-US"/>
        </a:p>
      </dgm:t>
    </dgm:pt>
    <dgm:pt modelId="{1F876490-CAE9-4B4F-AB2B-8C96C75D61F9}">
      <dgm:prSet custT="1"/>
      <dgm:spPr/>
      <dgm:t>
        <a:bodyPr/>
        <a:lstStyle/>
        <a:p>
          <a:r>
            <a:rPr lang="en-US" sz="1400"/>
            <a:t>Manage Logins in Azure SQL Database</a:t>
          </a:r>
        </a:p>
      </dgm:t>
    </dgm:pt>
    <dgm:pt modelId="{AA535584-8174-4916-B47F-7F8312262951}" type="parTrans" cxnId="{6D2AFD1B-6E03-49E0-AA47-FBCADE1591E4}">
      <dgm:prSet/>
      <dgm:spPr/>
      <dgm:t>
        <a:bodyPr/>
        <a:lstStyle/>
        <a:p>
          <a:endParaRPr lang="en-US"/>
        </a:p>
      </dgm:t>
    </dgm:pt>
    <dgm:pt modelId="{A7E5C380-6F24-43C8-8B3D-46E358F7B9DC}" type="sibTrans" cxnId="{6D2AFD1B-6E03-49E0-AA47-FBCADE1591E4}">
      <dgm:prSet/>
      <dgm:spPr/>
      <dgm:t>
        <a:bodyPr/>
        <a:lstStyle/>
        <a:p>
          <a:endParaRPr lang="en-US"/>
        </a:p>
      </dgm:t>
    </dgm:pt>
    <dgm:pt modelId="{9F369E7F-5B69-484F-8F98-39927DA36F11}">
      <dgm:prSet custT="1"/>
      <dgm:spPr/>
      <dgm:t>
        <a:bodyPr/>
        <a:lstStyle/>
        <a:p>
          <a:r>
            <a:rPr lang="en-US" sz="1400"/>
            <a:t>Implement Firewall Rules and Virtual Networks</a:t>
          </a:r>
        </a:p>
      </dgm:t>
    </dgm:pt>
    <dgm:pt modelId="{BED1E1CD-9756-4214-805F-264A92C94CE4}" type="parTrans" cxnId="{4A4D7D82-8F4C-441C-872B-F9CA439DE859}">
      <dgm:prSet/>
      <dgm:spPr/>
      <dgm:t>
        <a:bodyPr/>
        <a:lstStyle/>
        <a:p>
          <a:endParaRPr lang="en-US"/>
        </a:p>
      </dgm:t>
    </dgm:pt>
    <dgm:pt modelId="{D01D0D4C-B967-4BFC-82F1-E137EB0FBBFC}" type="sibTrans" cxnId="{4A4D7D82-8F4C-441C-872B-F9CA439DE859}">
      <dgm:prSet/>
      <dgm:spPr/>
      <dgm:t>
        <a:bodyPr/>
        <a:lstStyle/>
        <a:p>
          <a:endParaRPr lang="en-US"/>
        </a:p>
      </dgm:t>
    </dgm:pt>
    <dgm:pt modelId="{01E3FC9B-580B-4DCB-B99D-10AFB3901E53}">
      <dgm:prSet custT="1"/>
      <dgm:spPr/>
      <dgm:t>
        <a:bodyPr/>
        <a:lstStyle/>
        <a:p>
          <a:r>
            <a:rPr lang="en-US" sz="1400"/>
            <a:t>Implement Transparent Data Encryption</a:t>
          </a:r>
        </a:p>
      </dgm:t>
    </dgm:pt>
    <dgm:pt modelId="{990E9B0D-AB17-4B9B-A1E2-57A5524A1713}" type="parTrans" cxnId="{1164ADF4-476B-4453-9A43-0E53420897E4}">
      <dgm:prSet/>
      <dgm:spPr/>
      <dgm:t>
        <a:bodyPr/>
        <a:lstStyle/>
        <a:p>
          <a:endParaRPr lang="en-US"/>
        </a:p>
      </dgm:t>
    </dgm:pt>
    <dgm:pt modelId="{30B3C546-F8B4-4A00-92BB-E7A098E96BE6}" type="sibTrans" cxnId="{1164ADF4-476B-4453-9A43-0E53420897E4}">
      <dgm:prSet/>
      <dgm:spPr/>
      <dgm:t>
        <a:bodyPr/>
        <a:lstStyle/>
        <a:p>
          <a:endParaRPr lang="en-US"/>
        </a:p>
      </dgm:t>
    </dgm:pt>
    <dgm:pt modelId="{3998EC4B-78A0-4DF7-9ED6-A0121936FB99}">
      <dgm:prSet custT="1"/>
      <dgm:spPr/>
      <dgm:t>
        <a:bodyPr/>
        <a:lstStyle/>
        <a:p>
          <a:r>
            <a:rPr lang="en-US" sz="1400"/>
            <a:t>Implement Always Encrypted</a:t>
          </a:r>
        </a:p>
      </dgm:t>
    </dgm:pt>
    <dgm:pt modelId="{49081D93-F6F6-420A-9991-669D3D46A813}" type="parTrans" cxnId="{97B0BC9B-002C-47FC-81D8-18CD2C8345AC}">
      <dgm:prSet/>
      <dgm:spPr/>
      <dgm:t>
        <a:bodyPr/>
        <a:lstStyle/>
        <a:p>
          <a:endParaRPr lang="en-US"/>
        </a:p>
      </dgm:t>
    </dgm:pt>
    <dgm:pt modelId="{CFBD53FF-ED0E-4D15-993D-C282ADD531AB}" type="sibTrans" cxnId="{97B0BC9B-002C-47FC-81D8-18CD2C8345AC}">
      <dgm:prSet/>
      <dgm:spPr/>
      <dgm:t>
        <a:bodyPr/>
        <a:lstStyle/>
        <a:p>
          <a:endParaRPr lang="en-US"/>
        </a:p>
      </dgm:t>
    </dgm:pt>
    <dgm:pt modelId="{432CC988-D856-4305-960B-2AEB69547AD6}">
      <dgm:prSet custT="1"/>
      <dgm:spPr/>
      <dgm:t>
        <a:bodyPr/>
        <a:lstStyle/>
        <a:p>
          <a:r>
            <a:rPr lang="en-US" sz="1400"/>
            <a:t>Implement Row Level Security</a:t>
          </a:r>
        </a:p>
      </dgm:t>
    </dgm:pt>
    <dgm:pt modelId="{E507A292-71A1-46EC-BC63-5EE02B0F87D2}" type="parTrans" cxnId="{EC1959EB-83BC-4A5E-9238-1846B459B080}">
      <dgm:prSet/>
      <dgm:spPr/>
      <dgm:t>
        <a:bodyPr/>
        <a:lstStyle/>
        <a:p>
          <a:endParaRPr lang="en-US"/>
        </a:p>
      </dgm:t>
    </dgm:pt>
    <dgm:pt modelId="{D76387DB-116B-42F0-8D46-5E9469B3E549}" type="sibTrans" cxnId="{EC1959EB-83BC-4A5E-9238-1846B459B080}">
      <dgm:prSet/>
      <dgm:spPr/>
      <dgm:t>
        <a:bodyPr/>
        <a:lstStyle/>
        <a:p>
          <a:endParaRPr lang="en-US"/>
        </a:p>
      </dgm:t>
    </dgm:pt>
    <dgm:pt modelId="{0B4E593A-5714-4FBF-AA1E-4AC6EDC85439}">
      <dgm:prSet custT="1"/>
      <dgm:spPr/>
      <dgm:t>
        <a:bodyPr/>
        <a:lstStyle/>
        <a:p>
          <a:r>
            <a:rPr lang="en-US" sz="1400"/>
            <a:t>Implement Dynamic Data Masking</a:t>
          </a:r>
        </a:p>
      </dgm:t>
    </dgm:pt>
    <dgm:pt modelId="{24DF52EC-324C-44D7-96E6-D5426AC8AC7A}" type="parTrans" cxnId="{599F2450-80BA-4F3A-A8B1-B514F86BF951}">
      <dgm:prSet/>
      <dgm:spPr/>
      <dgm:t>
        <a:bodyPr/>
        <a:lstStyle/>
        <a:p>
          <a:endParaRPr lang="en-US"/>
        </a:p>
      </dgm:t>
    </dgm:pt>
    <dgm:pt modelId="{266ABFFF-1F22-496A-954F-25827C11E8C4}" type="sibTrans" cxnId="{599F2450-80BA-4F3A-A8B1-B514F86BF951}">
      <dgm:prSet/>
      <dgm:spPr/>
      <dgm:t>
        <a:bodyPr/>
        <a:lstStyle/>
        <a:p>
          <a:endParaRPr lang="en-US"/>
        </a:p>
      </dgm:t>
    </dgm:pt>
    <dgm:pt modelId="{863B7157-2BDC-4F76-BA0B-14EFFEA1DABA}">
      <dgm:prSet custT="1"/>
      <dgm:spPr/>
      <dgm:t>
        <a:bodyPr/>
        <a:lstStyle/>
        <a:p>
          <a:r>
            <a:rPr lang="en-US" sz="1400"/>
            <a:t>Implement Auditing for Azure SQL Database</a:t>
          </a:r>
        </a:p>
      </dgm:t>
    </dgm:pt>
    <dgm:pt modelId="{C3C16E58-AADF-4285-BD54-79073EF32BBF}" type="parTrans" cxnId="{E5EDF56E-738F-4337-BCD1-E459E0272D58}">
      <dgm:prSet/>
      <dgm:spPr/>
      <dgm:t>
        <a:bodyPr/>
        <a:lstStyle/>
        <a:p>
          <a:endParaRPr lang="en-US"/>
        </a:p>
      </dgm:t>
    </dgm:pt>
    <dgm:pt modelId="{C934DA1A-1984-48D6-87D1-F714C48E978C}" type="sibTrans" cxnId="{E5EDF56E-738F-4337-BCD1-E459E0272D58}">
      <dgm:prSet/>
      <dgm:spPr/>
      <dgm:t>
        <a:bodyPr/>
        <a:lstStyle/>
        <a:p>
          <a:endParaRPr lang="en-US"/>
        </a:p>
      </dgm:t>
    </dgm:pt>
    <dgm:pt modelId="{9AA0B128-CE80-4A11-B6F1-A99A675C5EC1}">
      <dgm:prSet custT="1"/>
      <dgm:spPr/>
      <dgm:t>
        <a:bodyPr/>
        <a:lstStyle/>
        <a:p>
          <a:r>
            <a:rPr lang="en-US" sz="1400"/>
            <a:t>Implement Advanced Data Security</a:t>
          </a:r>
        </a:p>
      </dgm:t>
    </dgm:pt>
    <dgm:pt modelId="{981ACC2A-734A-44FF-9EFC-A1322A1022C6}" type="parTrans" cxnId="{1452ACA4-ECE7-403B-9330-8F339B1C2903}">
      <dgm:prSet/>
      <dgm:spPr/>
      <dgm:t>
        <a:bodyPr/>
        <a:lstStyle/>
        <a:p>
          <a:endParaRPr lang="en-US"/>
        </a:p>
      </dgm:t>
    </dgm:pt>
    <dgm:pt modelId="{36241078-1BE9-43B7-8D5D-2631572139C6}" type="sibTrans" cxnId="{1452ACA4-ECE7-403B-9330-8F339B1C2903}">
      <dgm:prSet/>
      <dgm:spPr/>
      <dgm:t>
        <a:bodyPr/>
        <a:lstStyle/>
        <a:p>
          <a:endParaRPr lang="en-US"/>
        </a:p>
      </dgm:t>
    </dgm:pt>
    <dgm:pt modelId="{AC64ABB2-DE91-4EF6-9C94-D5489870100E}">
      <dgm:prSet custT="1"/>
      <dgm:spPr/>
      <dgm:t>
        <a:bodyPr/>
        <a:lstStyle/>
        <a:p>
          <a:endParaRPr lang="en-US" sz="1400"/>
        </a:p>
      </dgm:t>
    </dgm:pt>
    <dgm:pt modelId="{81964CE2-7349-42B8-A271-92B993222C8A}" type="parTrans" cxnId="{9C088DED-39E5-4B88-BF89-6E6F010F1E7C}">
      <dgm:prSet/>
      <dgm:spPr/>
      <dgm:t>
        <a:bodyPr/>
        <a:lstStyle/>
        <a:p>
          <a:endParaRPr lang="en-US"/>
        </a:p>
      </dgm:t>
    </dgm:pt>
    <dgm:pt modelId="{FE0C01B9-5BF1-4379-84F0-9F1ED093B279}" type="sibTrans" cxnId="{9C088DED-39E5-4B88-BF89-6E6F010F1E7C}">
      <dgm:prSet/>
      <dgm:spPr/>
      <dgm:t>
        <a:bodyPr/>
        <a:lstStyle/>
        <a:p>
          <a:endParaRPr lang="en-US"/>
        </a:p>
      </dgm:t>
    </dgm:pt>
    <dgm:pt modelId="{2899ADBF-E27B-4F20-B4AF-51F0A3ACBBC6}" type="pres">
      <dgm:prSet presAssocID="{01E1DF0C-A459-49AA-8F8D-34E69D8DBE3E}" presName="Name0" presStyleCnt="0">
        <dgm:presLayoutVars>
          <dgm:dir/>
          <dgm:animLvl val="lvl"/>
          <dgm:resizeHandles val="exact"/>
        </dgm:presLayoutVars>
      </dgm:prSet>
      <dgm:spPr/>
    </dgm:pt>
    <dgm:pt modelId="{DA94985A-C50D-4C32-BE38-ABF067836893}" type="pres">
      <dgm:prSet presAssocID="{C6DA5BFE-9C7E-405F-AAB1-AA9EFD5C6AFB}" presName="composite" presStyleCnt="0"/>
      <dgm:spPr/>
    </dgm:pt>
    <dgm:pt modelId="{507124A3-90CF-4886-A9A9-A6B5DE6FB8FD}" type="pres">
      <dgm:prSet presAssocID="{C6DA5BFE-9C7E-405F-AAB1-AA9EFD5C6AFB}" presName="parTx" presStyleLbl="node1" presStyleIdx="0" presStyleCnt="2">
        <dgm:presLayoutVars>
          <dgm:chMax val="0"/>
          <dgm:chPref val="0"/>
          <dgm:bulletEnabled val="1"/>
        </dgm:presLayoutVars>
      </dgm:prSet>
      <dgm:spPr/>
    </dgm:pt>
    <dgm:pt modelId="{68E248CA-96B1-433F-A6E6-BE8C9636B5AD}" type="pres">
      <dgm:prSet presAssocID="{C6DA5BFE-9C7E-405F-AAB1-AA9EFD5C6AFB}" presName="desTx" presStyleLbl="revTx" presStyleIdx="0" presStyleCnt="2">
        <dgm:presLayoutVars>
          <dgm:bulletEnabled val="1"/>
        </dgm:presLayoutVars>
      </dgm:prSet>
      <dgm:spPr/>
    </dgm:pt>
    <dgm:pt modelId="{08017879-DF2E-47BD-B1BF-2CBF16F7CF38}" type="pres">
      <dgm:prSet presAssocID="{CD78039F-7D74-4FB0-AFDD-06DD8FE69503}" presName="space" presStyleCnt="0"/>
      <dgm:spPr/>
    </dgm:pt>
    <dgm:pt modelId="{56DC79A0-8641-4881-B66B-D2D0507EFE16}" type="pres">
      <dgm:prSet presAssocID="{AE49764E-7B70-4DB5-93D9-A6F0E22FC068}" presName="composite" presStyleCnt="0"/>
      <dgm:spPr/>
    </dgm:pt>
    <dgm:pt modelId="{E7068F9B-B4AA-4BF0-A44E-73C912F4129C}" type="pres">
      <dgm:prSet presAssocID="{AE49764E-7B70-4DB5-93D9-A6F0E22FC068}" presName="parTx" presStyleLbl="node1" presStyleIdx="1" presStyleCnt="2">
        <dgm:presLayoutVars>
          <dgm:chMax val="0"/>
          <dgm:chPref val="0"/>
          <dgm:bulletEnabled val="1"/>
        </dgm:presLayoutVars>
      </dgm:prSet>
      <dgm:spPr/>
    </dgm:pt>
    <dgm:pt modelId="{42838614-75FE-4200-B84F-165405580FC9}" type="pres">
      <dgm:prSet presAssocID="{AE49764E-7B70-4DB5-93D9-A6F0E22FC068}" presName="desTx" presStyleLbl="revTx" presStyleIdx="1" presStyleCnt="2">
        <dgm:presLayoutVars>
          <dgm:bulletEnabled val="1"/>
        </dgm:presLayoutVars>
      </dgm:prSet>
      <dgm:spPr/>
    </dgm:pt>
  </dgm:ptLst>
  <dgm:cxnLst>
    <dgm:cxn modelId="{BECD2A05-CD7D-4E58-86A4-8F8EEEC86284}" srcId="{C6DA5BFE-9C7E-405F-AAB1-AA9EFD5C6AFB}" destId="{CAF037FA-CF53-4844-A3E8-B5DD7DE24ECC}" srcOrd="1" destOrd="0" parTransId="{6479EB17-BF81-4DF7-B30A-B226D7A75595}" sibTransId="{DF431695-EA9D-4277-AB73-5DCB45A2C9A9}"/>
    <dgm:cxn modelId="{6D6E9F0B-A74D-4417-B11A-10322293F03D}" type="presOf" srcId="{2F208917-6925-41AF-8C1E-2CC12AC4BA25}" destId="{42838614-75FE-4200-B84F-165405580FC9}" srcOrd="0" destOrd="0" presId="urn:microsoft.com/office/officeart/2005/8/layout/chevron1"/>
    <dgm:cxn modelId="{6D2AFD1B-6E03-49E0-AA47-FBCADE1591E4}" srcId="{AE49764E-7B70-4DB5-93D9-A6F0E22FC068}" destId="{1F876490-CAE9-4B4F-AB2B-8C96C75D61F9}" srcOrd="2" destOrd="0" parTransId="{AA535584-8174-4916-B47F-7F8312262951}" sibTransId="{A7E5C380-6F24-43C8-8B3D-46E358F7B9DC}"/>
    <dgm:cxn modelId="{FEBA5C1F-B309-4448-86D3-7C086225093A}" type="presOf" srcId="{9AA0B128-CE80-4A11-B6F1-A99A675C5EC1}" destId="{42838614-75FE-4200-B84F-165405580FC9}" srcOrd="0" destOrd="9" presId="urn:microsoft.com/office/officeart/2005/8/layout/chevron1"/>
    <dgm:cxn modelId="{C9CC622F-04EF-4A43-B55B-4B955B213501}" type="presOf" srcId="{3998EC4B-78A0-4DF7-9ED6-A0121936FB99}" destId="{42838614-75FE-4200-B84F-165405580FC9}" srcOrd="0" destOrd="5" presId="urn:microsoft.com/office/officeart/2005/8/layout/chevron1"/>
    <dgm:cxn modelId="{33E8CA36-0BB3-470F-95CB-6B9E54F602CD}" srcId="{01E1DF0C-A459-49AA-8F8D-34E69D8DBE3E}" destId="{C6DA5BFE-9C7E-405F-AAB1-AA9EFD5C6AFB}" srcOrd="0" destOrd="0" parTransId="{843247C1-A547-45D4-8938-2DE4017ACDAE}" sibTransId="{CD78039F-7D74-4FB0-AFDD-06DD8FE69503}"/>
    <dgm:cxn modelId="{C5CD493A-7DF8-4F23-A605-E47BB3AAD2C1}" type="presOf" srcId="{C6DA5BFE-9C7E-405F-AAB1-AA9EFD5C6AFB}" destId="{507124A3-90CF-4886-A9A9-A6B5DE6FB8FD}" srcOrd="0" destOrd="0" presId="urn:microsoft.com/office/officeart/2005/8/layout/chevron1"/>
    <dgm:cxn modelId="{99141E64-ED70-43A0-83F5-C5473C23D64E}" type="presOf" srcId="{01E3FC9B-580B-4DCB-B99D-10AFB3901E53}" destId="{42838614-75FE-4200-B84F-165405580FC9}" srcOrd="0" destOrd="4" presId="urn:microsoft.com/office/officeart/2005/8/layout/chevron1"/>
    <dgm:cxn modelId="{97E21C66-22F9-48C3-A4A8-5F48D97B6296}" srcId="{01E1DF0C-A459-49AA-8F8D-34E69D8DBE3E}" destId="{AE49764E-7B70-4DB5-93D9-A6F0E22FC068}" srcOrd="1" destOrd="0" parTransId="{1FF94808-8485-492C-9FA0-01A2796A3139}" sibTransId="{E1CE6976-3C48-487E-B43E-DC7DEF3CD031}"/>
    <dgm:cxn modelId="{E5EDF56E-738F-4337-BCD1-E459E0272D58}" srcId="{AE49764E-7B70-4DB5-93D9-A6F0E22FC068}" destId="{863B7157-2BDC-4F76-BA0B-14EFFEA1DABA}" srcOrd="8" destOrd="0" parTransId="{C3C16E58-AADF-4285-BD54-79073EF32BBF}" sibTransId="{C934DA1A-1984-48D6-87D1-F714C48E978C}"/>
    <dgm:cxn modelId="{599F2450-80BA-4F3A-A8B1-B514F86BF951}" srcId="{AE49764E-7B70-4DB5-93D9-A6F0E22FC068}" destId="{0B4E593A-5714-4FBF-AA1E-4AC6EDC85439}" srcOrd="7" destOrd="0" parTransId="{24DF52EC-324C-44D7-96E6-D5426AC8AC7A}" sibTransId="{266ABFFF-1F22-496A-954F-25827C11E8C4}"/>
    <dgm:cxn modelId="{E56C0854-5EA2-4411-8423-01ABE9E43293}" type="presOf" srcId="{01E1DF0C-A459-49AA-8F8D-34E69D8DBE3E}" destId="{2899ADBF-E27B-4F20-B4AF-51F0A3ACBBC6}" srcOrd="0" destOrd="0" presId="urn:microsoft.com/office/officeart/2005/8/layout/chevron1"/>
    <dgm:cxn modelId="{B7BCE675-68AC-46B0-BE26-03D0EF7B6D15}" type="presOf" srcId="{9F369E7F-5B69-484F-8F98-39927DA36F11}" destId="{42838614-75FE-4200-B84F-165405580FC9}" srcOrd="0" destOrd="3" presId="urn:microsoft.com/office/officeart/2005/8/layout/chevron1"/>
    <dgm:cxn modelId="{2AF5607F-57F3-4983-9609-CD02BA165F96}" srcId="{AE49764E-7B70-4DB5-93D9-A6F0E22FC068}" destId="{2F208917-6925-41AF-8C1E-2CC12AC4BA25}" srcOrd="0" destOrd="0" parTransId="{13E81416-A4B0-4F41-960D-54B20AC11913}" sibTransId="{7AD2872D-6997-4747-815A-DFEFDCD0FD7B}"/>
    <dgm:cxn modelId="{4A4D7D82-8F4C-441C-872B-F9CA439DE859}" srcId="{AE49764E-7B70-4DB5-93D9-A6F0E22FC068}" destId="{9F369E7F-5B69-484F-8F98-39927DA36F11}" srcOrd="3" destOrd="0" parTransId="{BED1E1CD-9756-4214-805F-264A92C94CE4}" sibTransId="{D01D0D4C-B967-4BFC-82F1-E137EB0FBBFC}"/>
    <dgm:cxn modelId="{68BF1383-8304-449D-BD3A-706CD99A55EC}" type="presOf" srcId="{432CC988-D856-4305-960B-2AEB69547AD6}" destId="{42838614-75FE-4200-B84F-165405580FC9}" srcOrd="0" destOrd="6" presId="urn:microsoft.com/office/officeart/2005/8/layout/chevron1"/>
    <dgm:cxn modelId="{A4829986-31C2-4421-BEE3-F71D3DC5A57B}" type="presOf" srcId="{AC64ABB2-DE91-4EF6-9C94-D5489870100E}" destId="{42838614-75FE-4200-B84F-165405580FC9}" srcOrd="0" destOrd="10" presId="urn:microsoft.com/office/officeart/2005/8/layout/chevron1"/>
    <dgm:cxn modelId="{97B0BC9B-002C-47FC-81D8-18CD2C8345AC}" srcId="{AE49764E-7B70-4DB5-93D9-A6F0E22FC068}" destId="{3998EC4B-78A0-4DF7-9ED6-A0121936FB99}" srcOrd="5" destOrd="0" parTransId="{49081D93-F6F6-420A-9991-669D3D46A813}" sibTransId="{CFBD53FF-ED0E-4D15-993D-C282ADD531AB}"/>
    <dgm:cxn modelId="{53A0209C-0D96-4DA5-A9C8-5A37AECAE1D4}" type="presOf" srcId="{83F2CE3E-5C1E-460E-95D8-2F69D9F51388}" destId="{68E248CA-96B1-433F-A6E6-BE8C9636B5AD}" srcOrd="0" destOrd="0" presId="urn:microsoft.com/office/officeart/2005/8/layout/chevron1"/>
    <dgm:cxn modelId="{0356F1A1-FA11-4C5D-BAE0-60177CDDAD14}" type="presOf" srcId="{863B7157-2BDC-4F76-BA0B-14EFFEA1DABA}" destId="{42838614-75FE-4200-B84F-165405580FC9}" srcOrd="0" destOrd="8" presId="urn:microsoft.com/office/officeart/2005/8/layout/chevron1"/>
    <dgm:cxn modelId="{CC0DE7A3-A233-4C86-942F-9CEA83F2B184}" type="presOf" srcId="{EEF3342D-DB6B-46DF-882A-8A23073C33AF}" destId="{42838614-75FE-4200-B84F-165405580FC9}" srcOrd="0" destOrd="1" presId="urn:microsoft.com/office/officeart/2005/8/layout/chevron1"/>
    <dgm:cxn modelId="{1452ACA4-ECE7-403B-9330-8F339B1C2903}" srcId="{AE49764E-7B70-4DB5-93D9-A6F0E22FC068}" destId="{9AA0B128-CE80-4A11-B6F1-A99A675C5EC1}" srcOrd="9" destOrd="0" parTransId="{981ACC2A-734A-44FF-9EFC-A1322A1022C6}" sibTransId="{36241078-1BE9-43B7-8D5D-2631572139C6}"/>
    <dgm:cxn modelId="{C08748C9-F7F8-4711-BE90-55FCA3E3802A}" type="presOf" srcId="{0B4E593A-5714-4FBF-AA1E-4AC6EDC85439}" destId="{42838614-75FE-4200-B84F-165405580FC9}" srcOrd="0" destOrd="7" presId="urn:microsoft.com/office/officeart/2005/8/layout/chevron1"/>
    <dgm:cxn modelId="{5D0CF4D4-35B1-4C83-A306-9A381F014708}" srcId="{AE49764E-7B70-4DB5-93D9-A6F0E22FC068}" destId="{EEF3342D-DB6B-46DF-882A-8A23073C33AF}" srcOrd="1" destOrd="0" parTransId="{EAC53E87-74DD-44DB-97BB-E2EBF28FDF33}" sibTransId="{C3C7F480-D6B1-4664-8D94-C543898D9D9A}"/>
    <dgm:cxn modelId="{6DE0C3D8-3AFE-4318-A3D5-F2E443E8ECB9}" type="presOf" srcId="{AE49764E-7B70-4DB5-93D9-A6F0E22FC068}" destId="{E7068F9B-B4AA-4BF0-A44E-73C912F4129C}" srcOrd="0" destOrd="0" presId="urn:microsoft.com/office/officeart/2005/8/layout/chevron1"/>
    <dgm:cxn modelId="{6F0BFBDD-99D7-4188-9259-691B95EC6CE8}" srcId="{C6DA5BFE-9C7E-405F-AAB1-AA9EFD5C6AFB}" destId="{83F2CE3E-5C1E-460E-95D8-2F69D9F51388}" srcOrd="0" destOrd="0" parTransId="{565D7198-DDCA-4676-B0DC-0B6C8A9FCFE8}" sibTransId="{4DC5636C-974C-40E1-876C-38F8F27BC9BB}"/>
    <dgm:cxn modelId="{EC1959EB-83BC-4A5E-9238-1846B459B080}" srcId="{AE49764E-7B70-4DB5-93D9-A6F0E22FC068}" destId="{432CC988-D856-4305-960B-2AEB69547AD6}" srcOrd="6" destOrd="0" parTransId="{E507A292-71A1-46EC-BC63-5EE02B0F87D2}" sibTransId="{D76387DB-116B-42F0-8D46-5E9469B3E549}"/>
    <dgm:cxn modelId="{9C088DED-39E5-4B88-BF89-6E6F010F1E7C}" srcId="{AE49764E-7B70-4DB5-93D9-A6F0E22FC068}" destId="{AC64ABB2-DE91-4EF6-9C94-D5489870100E}" srcOrd="10" destOrd="0" parTransId="{81964CE2-7349-42B8-A271-92B993222C8A}" sibTransId="{FE0C01B9-5BF1-4379-84F0-9F1ED093B279}"/>
    <dgm:cxn modelId="{2B197AF2-7F56-4102-9388-994B696FCED6}" type="presOf" srcId="{CAF037FA-CF53-4844-A3E8-B5DD7DE24ECC}" destId="{68E248CA-96B1-433F-A6E6-BE8C9636B5AD}" srcOrd="0" destOrd="1" presId="urn:microsoft.com/office/officeart/2005/8/layout/chevron1"/>
    <dgm:cxn modelId="{1164ADF4-476B-4453-9A43-0E53420897E4}" srcId="{AE49764E-7B70-4DB5-93D9-A6F0E22FC068}" destId="{01E3FC9B-580B-4DCB-B99D-10AFB3901E53}" srcOrd="4" destOrd="0" parTransId="{990E9B0D-AB17-4B9B-A1E2-57A5524A1713}" sibTransId="{30B3C546-F8B4-4A00-92BB-E7A098E96BE6}"/>
    <dgm:cxn modelId="{6F2242FB-F591-4F83-B8B2-DFC8B78C58F1}" type="presOf" srcId="{1F876490-CAE9-4B4F-AB2B-8C96C75D61F9}" destId="{42838614-75FE-4200-B84F-165405580FC9}" srcOrd="0" destOrd="2" presId="urn:microsoft.com/office/officeart/2005/8/layout/chevron1"/>
    <dgm:cxn modelId="{08739BE7-6306-40DC-91FD-11B4AEDD6282}" type="presParOf" srcId="{2899ADBF-E27B-4F20-B4AF-51F0A3ACBBC6}" destId="{DA94985A-C50D-4C32-BE38-ABF067836893}" srcOrd="0" destOrd="0" presId="urn:microsoft.com/office/officeart/2005/8/layout/chevron1"/>
    <dgm:cxn modelId="{B6BCEDFC-9CBA-4F76-A0B8-2E4C7D5D7693}" type="presParOf" srcId="{DA94985A-C50D-4C32-BE38-ABF067836893}" destId="{507124A3-90CF-4886-A9A9-A6B5DE6FB8FD}" srcOrd="0" destOrd="0" presId="urn:microsoft.com/office/officeart/2005/8/layout/chevron1"/>
    <dgm:cxn modelId="{F0650A1F-960B-4C7A-BBC0-0B8B5F0E73B9}" type="presParOf" srcId="{DA94985A-C50D-4C32-BE38-ABF067836893}" destId="{68E248CA-96B1-433F-A6E6-BE8C9636B5AD}" srcOrd="1" destOrd="0" presId="urn:microsoft.com/office/officeart/2005/8/layout/chevron1"/>
    <dgm:cxn modelId="{DD30AAE3-E1BD-49EB-A47C-E4E9058271C1}" type="presParOf" srcId="{2899ADBF-E27B-4F20-B4AF-51F0A3ACBBC6}" destId="{08017879-DF2E-47BD-B1BF-2CBF16F7CF38}" srcOrd="1" destOrd="0" presId="urn:microsoft.com/office/officeart/2005/8/layout/chevron1"/>
    <dgm:cxn modelId="{13EDD651-540D-41D1-8783-44C55D5F0E34}" type="presParOf" srcId="{2899ADBF-E27B-4F20-B4AF-51F0A3ACBBC6}" destId="{56DC79A0-8641-4881-B66B-D2D0507EFE16}" srcOrd="2" destOrd="0" presId="urn:microsoft.com/office/officeart/2005/8/layout/chevron1"/>
    <dgm:cxn modelId="{A5EF00E9-8BA3-4E2F-877B-D93C258FDB33}" type="presParOf" srcId="{56DC79A0-8641-4881-B66B-D2D0507EFE16}" destId="{E7068F9B-B4AA-4BF0-A44E-73C912F4129C}" srcOrd="0" destOrd="0" presId="urn:microsoft.com/office/officeart/2005/8/layout/chevron1"/>
    <dgm:cxn modelId="{C5B39943-DC9F-460C-99CC-0FA116075D28}" type="presParOf" srcId="{56DC79A0-8641-4881-B66B-D2D0507EFE16}" destId="{42838614-75FE-4200-B84F-165405580FC9}" srcOrd="1" destOrd="0" presId="urn:microsoft.com/office/officeart/2005/8/layout/chevron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1E1DF0C-A459-49AA-8F8D-34E69D8DBE3E}" type="doc">
      <dgm:prSet loTypeId="urn:microsoft.com/office/officeart/2005/8/layout/chevron1" loCatId="process" qsTypeId="urn:microsoft.com/office/officeart/2005/8/quickstyle/simple1" qsCatId="simple" csTypeId="urn:microsoft.com/office/officeart/2005/8/colors/colorful1" csCatId="colorful" phldr="1"/>
      <dgm:spPr/>
      <dgm:t>
        <a:bodyPr/>
        <a:lstStyle/>
        <a:p>
          <a:endParaRPr lang="en-US"/>
        </a:p>
      </dgm:t>
    </dgm:pt>
    <dgm:pt modelId="{841D4148-F369-4CE6-AF78-4D48CC76B170}">
      <dgm:prSet custT="1"/>
      <dgm:spPr/>
      <dgm:t>
        <a:bodyPr/>
        <a:lstStyle/>
        <a:p>
          <a:r>
            <a:rPr lang="en-US" sz="1800"/>
            <a:t>Monitoring and Tuning Azure SQL Database</a:t>
          </a:r>
        </a:p>
      </dgm:t>
    </dgm:pt>
    <dgm:pt modelId="{D5AEE2D5-7DAC-4D95-94EC-22AC575827FF}" type="parTrans" cxnId="{AA69941C-4CD6-4BEF-A2FE-4708E2552562}">
      <dgm:prSet/>
      <dgm:spPr/>
      <dgm:t>
        <a:bodyPr/>
        <a:lstStyle/>
        <a:p>
          <a:endParaRPr lang="en-US"/>
        </a:p>
      </dgm:t>
    </dgm:pt>
    <dgm:pt modelId="{7E78F3C8-ABA9-4BE5-BC20-672A6D29108D}" type="sibTrans" cxnId="{AA69941C-4CD6-4BEF-A2FE-4708E2552562}">
      <dgm:prSet/>
      <dgm:spPr/>
      <dgm:t>
        <a:bodyPr/>
        <a:lstStyle/>
        <a:p>
          <a:endParaRPr lang="en-US"/>
        </a:p>
      </dgm:t>
    </dgm:pt>
    <dgm:pt modelId="{B2C7D45C-AD3D-4055-9C16-47C1A2CE161C}">
      <dgm:prSet custT="1"/>
      <dgm:spPr/>
      <dgm:t>
        <a:bodyPr/>
        <a:lstStyle/>
        <a:p>
          <a:r>
            <a:rPr lang="en-US" sz="1600"/>
            <a:t>Monitoring and Troubleshooting Azure SQL Database</a:t>
          </a:r>
        </a:p>
      </dgm:t>
    </dgm:pt>
    <dgm:pt modelId="{E346B3FA-B28D-4FBC-A34D-6BB7AB110FFA}" type="parTrans" cxnId="{F641C50F-B028-471A-BB0A-C0D9A962EE81}">
      <dgm:prSet/>
      <dgm:spPr/>
      <dgm:t>
        <a:bodyPr/>
        <a:lstStyle/>
        <a:p>
          <a:endParaRPr lang="en-US"/>
        </a:p>
      </dgm:t>
    </dgm:pt>
    <dgm:pt modelId="{F380F34D-39E3-40A3-BF16-B0ED1665B7B4}" type="sibTrans" cxnId="{F641C50F-B028-471A-BB0A-C0D9A962EE81}">
      <dgm:prSet/>
      <dgm:spPr/>
      <dgm:t>
        <a:bodyPr/>
        <a:lstStyle/>
        <a:p>
          <a:endParaRPr lang="en-US"/>
        </a:p>
      </dgm:t>
    </dgm:pt>
    <dgm:pt modelId="{1BD82115-1AAF-432B-8A87-20AA2DBED8EC}">
      <dgm:prSet custT="1"/>
      <dgm:spPr/>
      <dgm:t>
        <a:bodyPr/>
        <a:lstStyle/>
        <a:p>
          <a:r>
            <a:rPr lang="en-US" sz="1600"/>
            <a:t>Monitoring Query Performance using Query Performance Insight</a:t>
          </a:r>
        </a:p>
      </dgm:t>
    </dgm:pt>
    <dgm:pt modelId="{6245D3FE-AD08-44AD-86F6-15E39291C70A}" type="parTrans" cxnId="{847E9EB0-13E4-4621-A7F7-EA948D664B5D}">
      <dgm:prSet/>
      <dgm:spPr/>
      <dgm:t>
        <a:bodyPr/>
        <a:lstStyle/>
        <a:p>
          <a:endParaRPr lang="en-US"/>
        </a:p>
      </dgm:t>
    </dgm:pt>
    <dgm:pt modelId="{A810D6B9-6118-475A-955F-46D790A38AB1}" type="sibTrans" cxnId="{847E9EB0-13E4-4621-A7F7-EA948D664B5D}">
      <dgm:prSet/>
      <dgm:spPr/>
      <dgm:t>
        <a:bodyPr/>
        <a:lstStyle/>
        <a:p>
          <a:endParaRPr lang="en-US"/>
        </a:p>
      </dgm:t>
    </dgm:pt>
    <dgm:pt modelId="{8237F433-54EB-4A1F-95DC-412FD79216B1}">
      <dgm:prSet custT="1"/>
      <dgm:spPr/>
      <dgm:t>
        <a:bodyPr/>
        <a:lstStyle/>
        <a:p>
          <a:r>
            <a:rPr lang="en-US" sz="1600"/>
            <a:t>Azure SQL Database Tuning using Automatic Tuning</a:t>
          </a:r>
        </a:p>
      </dgm:t>
    </dgm:pt>
    <dgm:pt modelId="{952368CB-0E29-4238-82AD-BB5F8A32C346}" type="parTrans" cxnId="{C64B48F6-625B-4F7B-922F-5FF93B07F96D}">
      <dgm:prSet/>
      <dgm:spPr/>
      <dgm:t>
        <a:bodyPr/>
        <a:lstStyle/>
        <a:p>
          <a:endParaRPr lang="en-US"/>
        </a:p>
      </dgm:t>
    </dgm:pt>
    <dgm:pt modelId="{0A4BF834-B611-4696-A43A-ABFB1B4B27CE}" type="sibTrans" cxnId="{C64B48F6-625B-4F7B-922F-5FF93B07F96D}">
      <dgm:prSet/>
      <dgm:spPr/>
      <dgm:t>
        <a:bodyPr/>
        <a:lstStyle/>
        <a:p>
          <a:endParaRPr lang="en-US"/>
        </a:p>
      </dgm:t>
    </dgm:pt>
    <dgm:pt modelId="{39E6173A-3301-4207-8904-11CD11FA0FDF}">
      <dgm:prSet custT="1"/>
      <dgm:spPr/>
      <dgm:t>
        <a:bodyPr/>
        <a:lstStyle/>
        <a:p>
          <a:r>
            <a:rPr lang="en-US" sz="1600"/>
            <a:t>Monitoring Azure SQL Database Performance using Intelligent Insights</a:t>
          </a:r>
        </a:p>
      </dgm:t>
    </dgm:pt>
    <dgm:pt modelId="{DAB7E4B4-2807-46A4-B994-8A538B8BB741}" type="parTrans" cxnId="{EEEFB208-D243-463A-A3E3-D5D3EF902303}">
      <dgm:prSet/>
      <dgm:spPr/>
      <dgm:t>
        <a:bodyPr/>
        <a:lstStyle/>
        <a:p>
          <a:endParaRPr lang="en-US"/>
        </a:p>
      </dgm:t>
    </dgm:pt>
    <dgm:pt modelId="{2B67EA06-6FBD-4587-A138-B50DE5F11C64}" type="sibTrans" cxnId="{EEEFB208-D243-463A-A3E3-D5D3EF902303}">
      <dgm:prSet/>
      <dgm:spPr/>
      <dgm:t>
        <a:bodyPr/>
        <a:lstStyle/>
        <a:p>
          <a:endParaRPr lang="en-US"/>
        </a:p>
      </dgm:t>
    </dgm:pt>
    <dgm:pt modelId="{9AE5EE3A-52E6-4C90-A36C-8920BBE02F7C}">
      <dgm:prSet custT="1"/>
      <dgm:spPr/>
      <dgm:t>
        <a:bodyPr/>
        <a:lstStyle/>
        <a:p>
          <a:r>
            <a:rPr lang="en-US" sz="1600"/>
            <a:t>Monitoring Azure SQL Database Performance using Extended Events</a:t>
          </a:r>
        </a:p>
      </dgm:t>
    </dgm:pt>
    <dgm:pt modelId="{64A62408-B14B-4913-BE54-12043D016A74}" type="parTrans" cxnId="{7E893AAC-7A3D-4FBB-A225-E354D50A8302}">
      <dgm:prSet/>
      <dgm:spPr/>
      <dgm:t>
        <a:bodyPr/>
        <a:lstStyle/>
        <a:p>
          <a:endParaRPr lang="en-US"/>
        </a:p>
      </dgm:t>
    </dgm:pt>
    <dgm:pt modelId="{2C05C6CE-153F-46B6-936B-14E5CC19F9FD}" type="sibTrans" cxnId="{7E893AAC-7A3D-4FBB-A225-E354D50A8302}">
      <dgm:prSet/>
      <dgm:spPr/>
      <dgm:t>
        <a:bodyPr/>
        <a:lstStyle/>
        <a:p>
          <a:endParaRPr lang="en-US"/>
        </a:p>
      </dgm:t>
    </dgm:pt>
    <dgm:pt modelId="{F7A2B685-F9DC-462B-B400-A843076A70F9}">
      <dgm:prSet custT="1"/>
      <dgm:spPr/>
      <dgm:t>
        <a:bodyPr/>
        <a:lstStyle/>
        <a:p>
          <a:r>
            <a:rPr lang="en-US" sz="1600"/>
            <a:t>Configure Alerts through Azure Portal</a:t>
          </a:r>
        </a:p>
      </dgm:t>
    </dgm:pt>
    <dgm:pt modelId="{E85D32BD-FFA3-4EAA-A09B-41DAF419C033}" type="parTrans" cxnId="{905CD879-5924-4868-A5AD-1E6F740EDBA4}">
      <dgm:prSet/>
      <dgm:spPr/>
      <dgm:t>
        <a:bodyPr/>
        <a:lstStyle/>
        <a:p>
          <a:endParaRPr lang="en-US"/>
        </a:p>
      </dgm:t>
    </dgm:pt>
    <dgm:pt modelId="{429DA49C-BBB1-4E69-8FEA-F4EB8F9726C1}" type="sibTrans" cxnId="{905CD879-5924-4868-A5AD-1E6F740EDBA4}">
      <dgm:prSet/>
      <dgm:spPr/>
      <dgm:t>
        <a:bodyPr/>
        <a:lstStyle/>
        <a:p>
          <a:endParaRPr lang="en-US"/>
        </a:p>
      </dgm:t>
    </dgm:pt>
    <dgm:pt modelId="{959EA79F-8963-4310-8AEA-A4736B127C67}">
      <dgm:prSet custT="1"/>
      <dgm:spPr>
        <a:solidFill>
          <a:schemeClr val="accent1"/>
        </a:solidFill>
      </dgm:spPr>
      <dgm:t>
        <a:bodyPr/>
        <a:lstStyle/>
        <a:p>
          <a:r>
            <a:rPr lang="en-US" sz="1800"/>
            <a:t>Azure SQL Database Migration &amp; Sync Data</a:t>
          </a:r>
        </a:p>
      </dgm:t>
    </dgm:pt>
    <dgm:pt modelId="{56AA1180-E560-4368-BEA4-49F093DD45B8}" type="parTrans" cxnId="{DA2E7B27-C28E-4235-92AB-3A04954E62CC}">
      <dgm:prSet/>
      <dgm:spPr/>
      <dgm:t>
        <a:bodyPr/>
        <a:lstStyle/>
        <a:p>
          <a:endParaRPr lang="en-US"/>
        </a:p>
      </dgm:t>
    </dgm:pt>
    <dgm:pt modelId="{A3DB1786-F87D-4222-AFCC-EA5888CBB6B7}" type="sibTrans" cxnId="{DA2E7B27-C28E-4235-92AB-3A04954E62CC}">
      <dgm:prSet/>
      <dgm:spPr/>
      <dgm:t>
        <a:bodyPr/>
        <a:lstStyle/>
        <a:p>
          <a:endParaRPr lang="en-US"/>
        </a:p>
      </dgm:t>
    </dgm:pt>
    <dgm:pt modelId="{76CBF61D-8AE3-4723-AAA8-06AED5E92768}">
      <dgm:prSet custT="1"/>
      <dgm:spPr/>
      <dgm:t>
        <a:bodyPr/>
        <a:lstStyle/>
        <a:p>
          <a:r>
            <a:rPr lang="en-US" sz="1600"/>
            <a:t>Steps to migrate your database to Azure SQL Database</a:t>
          </a:r>
        </a:p>
      </dgm:t>
    </dgm:pt>
    <dgm:pt modelId="{0E2AF96E-F311-48B0-A4F9-45B90299FF2F}" type="parTrans" cxnId="{24B7704B-B853-4841-A09D-C2ABBC9DBAD8}">
      <dgm:prSet/>
      <dgm:spPr/>
      <dgm:t>
        <a:bodyPr/>
        <a:lstStyle/>
        <a:p>
          <a:endParaRPr lang="en-US"/>
        </a:p>
      </dgm:t>
    </dgm:pt>
    <dgm:pt modelId="{C6838BBE-E15A-4964-B447-C2133C2D74D5}" type="sibTrans" cxnId="{24B7704B-B853-4841-A09D-C2ABBC9DBAD8}">
      <dgm:prSet/>
      <dgm:spPr/>
      <dgm:t>
        <a:bodyPr/>
        <a:lstStyle/>
        <a:p>
          <a:endParaRPr lang="en-US"/>
        </a:p>
      </dgm:t>
    </dgm:pt>
    <dgm:pt modelId="{28F584B0-9251-424B-A607-40330DA3C611}">
      <dgm:prSet custT="1"/>
      <dgm:spPr/>
      <dgm:t>
        <a:bodyPr/>
        <a:lstStyle/>
        <a:p>
          <a:r>
            <a:rPr lang="en-US" sz="1600"/>
            <a:t>Is your database ready to move to Azure SQL database?</a:t>
          </a:r>
        </a:p>
      </dgm:t>
    </dgm:pt>
    <dgm:pt modelId="{D717250C-7B57-4EE8-B77B-47ED042E1EF1}" type="parTrans" cxnId="{23766CF6-C6D3-4A40-B1FF-9680712C87BE}">
      <dgm:prSet/>
      <dgm:spPr/>
      <dgm:t>
        <a:bodyPr/>
        <a:lstStyle/>
        <a:p>
          <a:endParaRPr lang="en-US"/>
        </a:p>
      </dgm:t>
    </dgm:pt>
    <dgm:pt modelId="{85884704-A71D-4027-9234-9BD4412F7E5A}" type="sibTrans" cxnId="{23766CF6-C6D3-4A40-B1FF-9680712C87BE}">
      <dgm:prSet/>
      <dgm:spPr/>
      <dgm:t>
        <a:bodyPr/>
        <a:lstStyle/>
        <a:p>
          <a:endParaRPr lang="en-US"/>
        </a:p>
      </dgm:t>
    </dgm:pt>
    <dgm:pt modelId="{96E6EDB6-8A39-4838-BCDB-6CD6CA970EC8}">
      <dgm:prSet custT="1"/>
      <dgm:spPr/>
      <dgm:t>
        <a:bodyPr/>
        <a:lstStyle/>
        <a:p>
          <a:r>
            <a:rPr lang="en-US" sz="1600"/>
            <a:t>Fix database migration compatibility issues</a:t>
          </a:r>
        </a:p>
      </dgm:t>
    </dgm:pt>
    <dgm:pt modelId="{3C055CA5-872F-4072-A38E-FF5E397879C2}" type="parTrans" cxnId="{A6AA89D8-F6CA-42D3-A4B4-6A32A7EF3BBC}">
      <dgm:prSet/>
      <dgm:spPr/>
      <dgm:t>
        <a:bodyPr/>
        <a:lstStyle/>
        <a:p>
          <a:endParaRPr lang="en-US"/>
        </a:p>
      </dgm:t>
    </dgm:pt>
    <dgm:pt modelId="{11BD9B54-5D55-4BDF-88B9-9B7A7801B117}" type="sibTrans" cxnId="{A6AA89D8-F6CA-42D3-A4B4-6A32A7EF3BBC}">
      <dgm:prSet/>
      <dgm:spPr/>
      <dgm:t>
        <a:bodyPr/>
        <a:lstStyle/>
        <a:p>
          <a:endParaRPr lang="en-US"/>
        </a:p>
      </dgm:t>
    </dgm:pt>
    <dgm:pt modelId="{1809DD83-2C10-480D-B966-27AE29682B35}">
      <dgm:prSet custT="1"/>
      <dgm:spPr/>
      <dgm:t>
        <a:bodyPr/>
        <a:lstStyle/>
        <a:p>
          <a:r>
            <a:rPr lang="en-US" sz="1600"/>
            <a:t>Identify the right Azure SQL Database SKU</a:t>
          </a:r>
        </a:p>
      </dgm:t>
    </dgm:pt>
    <dgm:pt modelId="{268E0CFE-719B-4C01-94BF-7A4400D51602}" type="parTrans" cxnId="{CEC96AF6-1C6A-48EE-A5D7-282E850A2E86}">
      <dgm:prSet/>
      <dgm:spPr/>
      <dgm:t>
        <a:bodyPr/>
        <a:lstStyle/>
        <a:p>
          <a:endParaRPr lang="en-US"/>
        </a:p>
      </dgm:t>
    </dgm:pt>
    <dgm:pt modelId="{50BB1133-6A95-4F54-A010-6945B9FB8CEE}" type="sibTrans" cxnId="{CEC96AF6-1C6A-48EE-A5D7-282E850A2E86}">
      <dgm:prSet/>
      <dgm:spPr/>
      <dgm:t>
        <a:bodyPr/>
        <a:lstStyle/>
        <a:p>
          <a:endParaRPr lang="en-US"/>
        </a:p>
      </dgm:t>
    </dgm:pt>
    <dgm:pt modelId="{84CEA22F-34CC-472E-992A-90A9EBBE4831}">
      <dgm:prSet custT="1"/>
      <dgm:spPr/>
      <dgm:t>
        <a:bodyPr/>
        <a:lstStyle/>
        <a:p>
          <a:r>
            <a:rPr lang="en-US" sz="1600"/>
            <a:t>Migrate a compatible SQL Server database to Azure SQL Database</a:t>
          </a:r>
        </a:p>
      </dgm:t>
    </dgm:pt>
    <dgm:pt modelId="{7F59E3D1-7404-4461-B201-736F00FC1C2C}" type="parTrans" cxnId="{0F6049BA-A1CD-4EE2-8D0F-CCD412C6E6ED}">
      <dgm:prSet/>
      <dgm:spPr/>
      <dgm:t>
        <a:bodyPr/>
        <a:lstStyle/>
        <a:p>
          <a:endParaRPr lang="en-US"/>
        </a:p>
      </dgm:t>
    </dgm:pt>
    <dgm:pt modelId="{632327F9-EE45-4B4D-83C0-ED2EB7BDB028}" type="sibTrans" cxnId="{0F6049BA-A1CD-4EE2-8D0F-CCD412C6E6ED}">
      <dgm:prSet/>
      <dgm:spPr/>
      <dgm:t>
        <a:bodyPr/>
        <a:lstStyle/>
        <a:p>
          <a:endParaRPr lang="en-US"/>
        </a:p>
      </dgm:t>
    </dgm:pt>
    <dgm:pt modelId="{BF6776B0-EC5B-4C1A-9B48-58B088D23555}">
      <dgm:prSet custT="1"/>
      <dgm:spPr/>
      <dgm:t>
        <a:bodyPr/>
        <a:lstStyle/>
        <a:p>
          <a:r>
            <a:rPr lang="en-US" sz="1600"/>
            <a:t> Sync data across multiple cloud and on-premises databases</a:t>
          </a:r>
        </a:p>
      </dgm:t>
    </dgm:pt>
    <dgm:pt modelId="{436D9C8D-470B-43B7-A7CF-4D2AFD8717D4}" type="parTrans" cxnId="{0BED856E-4EE7-4563-A4BD-35442C860889}">
      <dgm:prSet/>
      <dgm:spPr/>
      <dgm:t>
        <a:bodyPr/>
        <a:lstStyle/>
        <a:p>
          <a:endParaRPr lang="en-US"/>
        </a:p>
      </dgm:t>
    </dgm:pt>
    <dgm:pt modelId="{13781479-7C0B-4DF4-8BED-9687E1BBBCF3}" type="sibTrans" cxnId="{0BED856E-4EE7-4563-A4BD-35442C860889}">
      <dgm:prSet/>
      <dgm:spPr/>
      <dgm:t>
        <a:bodyPr/>
        <a:lstStyle/>
        <a:p>
          <a:endParaRPr lang="en-US"/>
        </a:p>
      </dgm:t>
    </dgm:pt>
    <dgm:pt modelId="{AD041730-83FF-419F-9CA1-A244EC2F927C}" type="pres">
      <dgm:prSet presAssocID="{01E1DF0C-A459-49AA-8F8D-34E69D8DBE3E}" presName="Name0" presStyleCnt="0">
        <dgm:presLayoutVars>
          <dgm:dir/>
          <dgm:animLvl val="lvl"/>
          <dgm:resizeHandles val="exact"/>
        </dgm:presLayoutVars>
      </dgm:prSet>
      <dgm:spPr/>
    </dgm:pt>
    <dgm:pt modelId="{8F199A40-4F80-4096-A166-5A29376B34FD}" type="pres">
      <dgm:prSet presAssocID="{841D4148-F369-4CE6-AF78-4D48CC76B170}" presName="composite" presStyleCnt="0"/>
      <dgm:spPr/>
    </dgm:pt>
    <dgm:pt modelId="{92FD1E93-2F32-435C-9AC9-2D5171682B04}" type="pres">
      <dgm:prSet presAssocID="{841D4148-F369-4CE6-AF78-4D48CC76B170}" presName="parTx" presStyleLbl="node1" presStyleIdx="0" presStyleCnt="2">
        <dgm:presLayoutVars>
          <dgm:chMax val="0"/>
          <dgm:chPref val="0"/>
          <dgm:bulletEnabled val="1"/>
        </dgm:presLayoutVars>
      </dgm:prSet>
      <dgm:spPr/>
    </dgm:pt>
    <dgm:pt modelId="{99361EE7-8674-4DE3-B25E-DCADA6E1F49A}" type="pres">
      <dgm:prSet presAssocID="{841D4148-F369-4CE6-AF78-4D48CC76B170}" presName="desTx" presStyleLbl="revTx" presStyleIdx="0" presStyleCnt="2">
        <dgm:presLayoutVars>
          <dgm:bulletEnabled val="1"/>
        </dgm:presLayoutVars>
      </dgm:prSet>
      <dgm:spPr/>
    </dgm:pt>
    <dgm:pt modelId="{40990B79-9780-4BC6-B5EC-3A2F724465CE}" type="pres">
      <dgm:prSet presAssocID="{7E78F3C8-ABA9-4BE5-BC20-672A6D29108D}" presName="space" presStyleCnt="0"/>
      <dgm:spPr/>
    </dgm:pt>
    <dgm:pt modelId="{C757AEDC-C8AE-43ED-A4B1-F62C9B530F69}" type="pres">
      <dgm:prSet presAssocID="{959EA79F-8963-4310-8AEA-A4736B127C67}" presName="composite" presStyleCnt="0"/>
      <dgm:spPr/>
    </dgm:pt>
    <dgm:pt modelId="{F5C8307E-F09C-42A9-8B30-FA6FD26468F5}" type="pres">
      <dgm:prSet presAssocID="{959EA79F-8963-4310-8AEA-A4736B127C67}" presName="parTx" presStyleLbl="node1" presStyleIdx="1" presStyleCnt="2">
        <dgm:presLayoutVars>
          <dgm:chMax val="0"/>
          <dgm:chPref val="0"/>
          <dgm:bulletEnabled val="1"/>
        </dgm:presLayoutVars>
      </dgm:prSet>
      <dgm:spPr/>
    </dgm:pt>
    <dgm:pt modelId="{4C2F6728-8833-4ED2-A906-E5F46AAE2343}" type="pres">
      <dgm:prSet presAssocID="{959EA79F-8963-4310-8AEA-A4736B127C67}" presName="desTx" presStyleLbl="revTx" presStyleIdx="1" presStyleCnt="2">
        <dgm:presLayoutVars>
          <dgm:bulletEnabled val="1"/>
        </dgm:presLayoutVars>
      </dgm:prSet>
      <dgm:spPr/>
    </dgm:pt>
  </dgm:ptLst>
  <dgm:cxnLst>
    <dgm:cxn modelId="{0254EF02-78D7-40A5-96D3-F1C979CA6BDE}" type="presOf" srcId="{841D4148-F369-4CE6-AF78-4D48CC76B170}" destId="{92FD1E93-2F32-435C-9AC9-2D5171682B04}" srcOrd="0" destOrd="0" presId="urn:microsoft.com/office/officeart/2005/8/layout/chevron1"/>
    <dgm:cxn modelId="{EEEFB208-D243-463A-A3E3-D5D3EF902303}" srcId="{841D4148-F369-4CE6-AF78-4D48CC76B170}" destId="{39E6173A-3301-4207-8904-11CD11FA0FDF}" srcOrd="3" destOrd="0" parTransId="{DAB7E4B4-2807-46A4-B994-8A538B8BB741}" sibTransId="{2B67EA06-6FBD-4587-A138-B50DE5F11C64}"/>
    <dgm:cxn modelId="{F641C50F-B028-471A-BB0A-C0D9A962EE81}" srcId="{841D4148-F369-4CE6-AF78-4D48CC76B170}" destId="{B2C7D45C-AD3D-4055-9C16-47C1A2CE161C}" srcOrd="0" destOrd="0" parTransId="{E346B3FA-B28D-4FBC-A34D-6BB7AB110FFA}" sibTransId="{F380F34D-39E3-40A3-BF16-B0ED1665B7B4}"/>
    <dgm:cxn modelId="{6F247113-C487-427E-929A-526A923B23D5}" type="presOf" srcId="{1809DD83-2C10-480D-B966-27AE29682B35}" destId="{4C2F6728-8833-4ED2-A906-E5F46AAE2343}" srcOrd="0" destOrd="3" presId="urn:microsoft.com/office/officeart/2005/8/layout/chevron1"/>
    <dgm:cxn modelId="{A8E3FE18-767B-468A-96BE-37390FFA075D}" type="presOf" srcId="{96E6EDB6-8A39-4838-BCDB-6CD6CA970EC8}" destId="{4C2F6728-8833-4ED2-A906-E5F46AAE2343}" srcOrd="0" destOrd="2" presId="urn:microsoft.com/office/officeart/2005/8/layout/chevron1"/>
    <dgm:cxn modelId="{AA69941C-4CD6-4BEF-A2FE-4708E2552562}" srcId="{01E1DF0C-A459-49AA-8F8D-34E69D8DBE3E}" destId="{841D4148-F369-4CE6-AF78-4D48CC76B170}" srcOrd="0" destOrd="0" parTransId="{D5AEE2D5-7DAC-4D95-94EC-22AC575827FF}" sibTransId="{7E78F3C8-ABA9-4BE5-BC20-672A6D29108D}"/>
    <dgm:cxn modelId="{DA2E7B27-C28E-4235-92AB-3A04954E62CC}" srcId="{01E1DF0C-A459-49AA-8F8D-34E69D8DBE3E}" destId="{959EA79F-8963-4310-8AEA-A4736B127C67}" srcOrd="1" destOrd="0" parTransId="{56AA1180-E560-4368-BEA4-49F093DD45B8}" sibTransId="{A3DB1786-F87D-4222-AFCC-EA5888CBB6B7}"/>
    <dgm:cxn modelId="{7BFFED6A-1719-4143-87C9-1CF957A7D538}" type="presOf" srcId="{76CBF61D-8AE3-4723-AAA8-06AED5E92768}" destId="{4C2F6728-8833-4ED2-A906-E5F46AAE2343}" srcOrd="0" destOrd="0" presId="urn:microsoft.com/office/officeart/2005/8/layout/chevron1"/>
    <dgm:cxn modelId="{24B7704B-B853-4841-A09D-C2ABBC9DBAD8}" srcId="{959EA79F-8963-4310-8AEA-A4736B127C67}" destId="{76CBF61D-8AE3-4723-AAA8-06AED5E92768}" srcOrd="0" destOrd="0" parTransId="{0E2AF96E-F311-48B0-A4F9-45B90299FF2F}" sibTransId="{C6838BBE-E15A-4964-B447-C2133C2D74D5}"/>
    <dgm:cxn modelId="{5179246D-D033-48E8-BD34-A2D39777F116}" type="presOf" srcId="{959EA79F-8963-4310-8AEA-A4736B127C67}" destId="{F5C8307E-F09C-42A9-8B30-FA6FD26468F5}" srcOrd="0" destOrd="0" presId="urn:microsoft.com/office/officeart/2005/8/layout/chevron1"/>
    <dgm:cxn modelId="{0BED856E-4EE7-4563-A4BD-35442C860889}" srcId="{959EA79F-8963-4310-8AEA-A4736B127C67}" destId="{BF6776B0-EC5B-4C1A-9B48-58B088D23555}" srcOrd="5" destOrd="0" parTransId="{436D9C8D-470B-43B7-A7CF-4D2AFD8717D4}" sibTransId="{13781479-7C0B-4DF4-8BED-9687E1BBBCF3}"/>
    <dgm:cxn modelId="{E6E4FA6F-E000-4C6F-8AC9-52EC74670F4B}" type="presOf" srcId="{01E1DF0C-A459-49AA-8F8D-34E69D8DBE3E}" destId="{AD041730-83FF-419F-9CA1-A244EC2F927C}" srcOrd="0" destOrd="0" presId="urn:microsoft.com/office/officeart/2005/8/layout/chevron1"/>
    <dgm:cxn modelId="{2F2D6359-5C75-4113-9ACD-C0C5444FF90A}" type="presOf" srcId="{39E6173A-3301-4207-8904-11CD11FA0FDF}" destId="{99361EE7-8674-4DE3-B25E-DCADA6E1F49A}" srcOrd="0" destOrd="3" presId="urn:microsoft.com/office/officeart/2005/8/layout/chevron1"/>
    <dgm:cxn modelId="{905CD879-5924-4868-A5AD-1E6F740EDBA4}" srcId="{841D4148-F369-4CE6-AF78-4D48CC76B170}" destId="{F7A2B685-F9DC-462B-B400-A843076A70F9}" srcOrd="5" destOrd="0" parTransId="{E85D32BD-FFA3-4EAA-A09B-41DAF419C033}" sibTransId="{429DA49C-BBB1-4E69-8FEA-F4EB8F9726C1}"/>
    <dgm:cxn modelId="{85A0E889-5A20-4F0F-8386-658ACF255286}" type="presOf" srcId="{1BD82115-1AAF-432B-8A87-20AA2DBED8EC}" destId="{99361EE7-8674-4DE3-B25E-DCADA6E1F49A}" srcOrd="0" destOrd="1" presId="urn:microsoft.com/office/officeart/2005/8/layout/chevron1"/>
    <dgm:cxn modelId="{DB59278F-7B5F-458B-8863-527CD1B09F51}" type="presOf" srcId="{B2C7D45C-AD3D-4055-9C16-47C1A2CE161C}" destId="{99361EE7-8674-4DE3-B25E-DCADA6E1F49A}" srcOrd="0" destOrd="0" presId="urn:microsoft.com/office/officeart/2005/8/layout/chevron1"/>
    <dgm:cxn modelId="{E91EC1AA-0F41-44AB-81E7-B4DF957EE60B}" type="presOf" srcId="{9AE5EE3A-52E6-4C90-A36C-8920BBE02F7C}" destId="{99361EE7-8674-4DE3-B25E-DCADA6E1F49A}" srcOrd="0" destOrd="4" presId="urn:microsoft.com/office/officeart/2005/8/layout/chevron1"/>
    <dgm:cxn modelId="{7E893AAC-7A3D-4FBB-A225-E354D50A8302}" srcId="{841D4148-F369-4CE6-AF78-4D48CC76B170}" destId="{9AE5EE3A-52E6-4C90-A36C-8920BBE02F7C}" srcOrd="4" destOrd="0" parTransId="{64A62408-B14B-4913-BE54-12043D016A74}" sibTransId="{2C05C6CE-153F-46B6-936B-14E5CC19F9FD}"/>
    <dgm:cxn modelId="{847E9EB0-13E4-4621-A7F7-EA948D664B5D}" srcId="{841D4148-F369-4CE6-AF78-4D48CC76B170}" destId="{1BD82115-1AAF-432B-8A87-20AA2DBED8EC}" srcOrd="1" destOrd="0" parTransId="{6245D3FE-AD08-44AD-86F6-15E39291C70A}" sibTransId="{A810D6B9-6118-475A-955F-46D790A38AB1}"/>
    <dgm:cxn modelId="{0F6049BA-A1CD-4EE2-8D0F-CCD412C6E6ED}" srcId="{959EA79F-8963-4310-8AEA-A4736B127C67}" destId="{84CEA22F-34CC-472E-992A-90A9EBBE4831}" srcOrd="4" destOrd="0" parTransId="{7F59E3D1-7404-4461-B201-736F00FC1C2C}" sibTransId="{632327F9-EE45-4B4D-83C0-ED2EB7BDB028}"/>
    <dgm:cxn modelId="{ED3EB9BF-EE55-41F4-B4AD-F3052E5F13F1}" type="presOf" srcId="{F7A2B685-F9DC-462B-B400-A843076A70F9}" destId="{99361EE7-8674-4DE3-B25E-DCADA6E1F49A}" srcOrd="0" destOrd="5" presId="urn:microsoft.com/office/officeart/2005/8/layout/chevron1"/>
    <dgm:cxn modelId="{62DB6DC4-3E99-4B53-9C11-00A82D0FAF78}" type="presOf" srcId="{8237F433-54EB-4A1F-95DC-412FD79216B1}" destId="{99361EE7-8674-4DE3-B25E-DCADA6E1F49A}" srcOrd="0" destOrd="2" presId="urn:microsoft.com/office/officeart/2005/8/layout/chevron1"/>
    <dgm:cxn modelId="{90A946CD-C6E4-4FB0-A44C-112B2FB68924}" type="presOf" srcId="{28F584B0-9251-424B-A607-40330DA3C611}" destId="{4C2F6728-8833-4ED2-A906-E5F46AAE2343}" srcOrd="0" destOrd="1" presId="urn:microsoft.com/office/officeart/2005/8/layout/chevron1"/>
    <dgm:cxn modelId="{31ADDCD2-2446-404A-8DA2-5AB7022C8945}" type="presOf" srcId="{BF6776B0-EC5B-4C1A-9B48-58B088D23555}" destId="{4C2F6728-8833-4ED2-A906-E5F46AAE2343}" srcOrd="0" destOrd="5" presId="urn:microsoft.com/office/officeart/2005/8/layout/chevron1"/>
    <dgm:cxn modelId="{A6AA89D8-F6CA-42D3-A4B4-6A32A7EF3BBC}" srcId="{959EA79F-8963-4310-8AEA-A4736B127C67}" destId="{96E6EDB6-8A39-4838-BCDB-6CD6CA970EC8}" srcOrd="2" destOrd="0" parTransId="{3C055CA5-872F-4072-A38E-FF5E397879C2}" sibTransId="{11BD9B54-5D55-4BDF-88B9-9B7A7801B117}"/>
    <dgm:cxn modelId="{EACE0CE1-BF4E-4F0D-8504-53C02A367A54}" type="presOf" srcId="{84CEA22F-34CC-472E-992A-90A9EBBE4831}" destId="{4C2F6728-8833-4ED2-A906-E5F46AAE2343}" srcOrd="0" destOrd="4" presId="urn:microsoft.com/office/officeart/2005/8/layout/chevron1"/>
    <dgm:cxn modelId="{C64B48F6-625B-4F7B-922F-5FF93B07F96D}" srcId="{841D4148-F369-4CE6-AF78-4D48CC76B170}" destId="{8237F433-54EB-4A1F-95DC-412FD79216B1}" srcOrd="2" destOrd="0" parTransId="{952368CB-0E29-4238-82AD-BB5F8A32C346}" sibTransId="{0A4BF834-B611-4696-A43A-ABFB1B4B27CE}"/>
    <dgm:cxn modelId="{CEC96AF6-1C6A-48EE-A5D7-282E850A2E86}" srcId="{959EA79F-8963-4310-8AEA-A4736B127C67}" destId="{1809DD83-2C10-480D-B966-27AE29682B35}" srcOrd="3" destOrd="0" parTransId="{268E0CFE-719B-4C01-94BF-7A4400D51602}" sibTransId="{50BB1133-6A95-4F54-A010-6945B9FB8CEE}"/>
    <dgm:cxn modelId="{23766CF6-C6D3-4A40-B1FF-9680712C87BE}" srcId="{959EA79F-8963-4310-8AEA-A4736B127C67}" destId="{28F584B0-9251-424B-A607-40330DA3C611}" srcOrd="1" destOrd="0" parTransId="{D717250C-7B57-4EE8-B77B-47ED042E1EF1}" sibTransId="{85884704-A71D-4027-9234-9BD4412F7E5A}"/>
    <dgm:cxn modelId="{933B3AE3-3645-46D8-855E-615164A60CD1}" type="presParOf" srcId="{AD041730-83FF-419F-9CA1-A244EC2F927C}" destId="{8F199A40-4F80-4096-A166-5A29376B34FD}" srcOrd="0" destOrd="0" presId="urn:microsoft.com/office/officeart/2005/8/layout/chevron1"/>
    <dgm:cxn modelId="{0C15F601-C98C-4F6A-BEEC-63238A2FE3D6}" type="presParOf" srcId="{8F199A40-4F80-4096-A166-5A29376B34FD}" destId="{92FD1E93-2F32-435C-9AC9-2D5171682B04}" srcOrd="0" destOrd="0" presId="urn:microsoft.com/office/officeart/2005/8/layout/chevron1"/>
    <dgm:cxn modelId="{50E48AE4-839C-4DCC-A669-93B862BC50F8}" type="presParOf" srcId="{8F199A40-4F80-4096-A166-5A29376B34FD}" destId="{99361EE7-8674-4DE3-B25E-DCADA6E1F49A}" srcOrd="1" destOrd="0" presId="urn:microsoft.com/office/officeart/2005/8/layout/chevron1"/>
    <dgm:cxn modelId="{F38DC352-F683-40CA-B2A4-CF50425A0E20}" type="presParOf" srcId="{AD041730-83FF-419F-9CA1-A244EC2F927C}" destId="{40990B79-9780-4BC6-B5EC-3A2F724465CE}" srcOrd="1" destOrd="0" presId="urn:microsoft.com/office/officeart/2005/8/layout/chevron1"/>
    <dgm:cxn modelId="{827066D4-725B-4E0E-968F-1C39E4603FBE}" type="presParOf" srcId="{AD041730-83FF-419F-9CA1-A244EC2F927C}" destId="{C757AEDC-C8AE-43ED-A4B1-F62C9B530F69}" srcOrd="2" destOrd="0" presId="urn:microsoft.com/office/officeart/2005/8/layout/chevron1"/>
    <dgm:cxn modelId="{23ED159E-6A61-4688-9A93-F52413D9F7F5}" type="presParOf" srcId="{C757AEDC-C8AE-43ED-A4B1-F62C9B530F69}" destId="{F5C8307E-F09C-42A9-8B30-FA6FD26468F5}" srcOrd="0" destOrd="0" presId="urn:microsoft.com/office/officeart/2005/8/layout/chevron1"/>
    <dgm:cxn modelId="{F2DF5315-1BC9-4A04-A444-9EFA09BA859E}" type="presParOf" srcId="{C757AEDC-C8AE-43ED-A4B1-F62C9B530F69}" destId="{4C2F6728-8833-4ED2-A906-E5F46AAE2343}" srcOrd="1" destOrd="0" presId="urn:microsoft.com/office/officeart/2005/8/layout/chevron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8829BD2-5F0C-4301-8DD2-5F7AAE65E849}" type="doc">
      <dgm:prSet loTypeId="urn:microsoft.com/office/officeart/2005/8/layout/vList2" loCatId="list" qsTypeId="urn:microsoft.com/office/officeart/2005/8/quickstyle/simple1" qsCatId="simple" csTypeId="urn:microsoft.com/office/officeart/2005/8/colors/accent1_1" csCatId="accent1" phldr="1"/>
      <dgm:spPr/>
      <dgm:t>
        <a:bodyPr/>
        <a:lstStyle/>
        <a:p>
          <a:endParaRPr lang="en-US"/>
        </a:p>
      </dgm:t>
    </dgm:pt>
    <dgm:pt modelId="{2E1D1905-C880-4638-B61C-108A9546B016}">
      <dgm:prSet custT="1"/>
      <dgm:spPr>
        <a:solidFill>
          <a:schemeClr val="accent4">
            <a:lumMod val="20000"/>
            <a:lumOff val="80000"/>
          </a:schemeClr>
        </a:solidFill>
      </dgm:spPr>
      <dgm:t>
        <a:bodyPr/>
        <a:lstStyle/>
        <a:p>
          <a:r>
            <a:rPr lang="en-US" sz="1600" b="0" i="0" dirty="0">
              <a:latin typeface="+mn-lt"/>
            </a:rPr>
            <a:t>M01L02Lab01 - Create an Azure SQL Database (20)</a:t>
          </a:r>
          <a:endParaRPr lang="en-US" sz="1600" dirty="0">
            <a:latin typeface="+mn-lt"/>
          </a:endParaRPr>
        </a:p>
      </dgm:t>
    </dgm:pt>
    <dgm:pt modelId="{DCC5CA27-7DB8-4A33-9CB9-0910731517DA}" type="parTrans" cxnId="{E7C9569D-BFD1-45E5-9232-F8523233BD9D}">
      <dgm:prSet/>
      <dgm:spPr/>
      <dgm:t>
        <a:bodyPr/>
        <a:lstStyle/>
        <a:p>
          <a:endParaRPr lang="en-US"/>
        </a:p>
      </dgm:t>
    </dgm:pt>
    <dgm:pt modelId="{4169F4EC-7AEF-4187-A00C-FDF93DA31A0F}" type="sibTrans" cxnId="{E7C9569D-BFD1-45E5-9232-F8523233BD9D}">
      <dgm:prSet/>
      <dgm:spPr/>
      <dgm:t>
        <a:bodyPr/>
        <a:lstStyle/>
        <a:p>
          <a:endParaRPr lang="en-US"/>
        </a:p>
      </dgm:t>
    </dgm:pt>
    <dgm:pt modelId="{43AE41A6-0201-4510-AF41-7ED0972AEC2F}">
      <dgm:prSet custT="1"/>
      <dgm:spPr>
        <a:solidFill>
          <a:schemeClr val="accent4">
            <a:lumMod val="20000"/>
            <a:lumOff val="80000"/>
          </a:schemeClr>
        </a:solidFill>
      </dgm:spPr>
      <dgm:t>
        <a:bodyPr/>
        <a:lstStyle/>
        <a:p>
          <a:r>
            <a:rPr lang="en-US" sz="1600" b="0" i="0" dirty="0">
              <a:latin typeface="+mn-lt"/>
            </a:rPr>
            <a:t>M02L01Lab01 - Various Tools to Manage Azure SQL Database (30)</a:t>
          </a:r>
        </a:p>
      </dgm:t>
    </dgm:pt>
    <dgm:pt modelId="{740906E0-5B4D-45C5-83E4-ACA747860FEE}" type="parTrans" cxnId="{FBDE83BC-52CF-4D1B-BFD9-D57B26156E4C}">
      <dgm:prSet/>
      <dgm:spPr/>
      <dgm:t>
        <a:bodyPr/>
        <a:lstStyle/>
        <a:p>
          <a:endParaRPr lang="en-US"/>
        </a:p>
      </dgm:t>
    </dgm:pt>
    <dgm:pt modelId="{ECAE0924-02DA-4413-9B22-9B7782DF26B0}" type="sibTrans" cxnId="{FBDE83BC-52CF-4D1B-BFD9-D57B26156E4C}">
      <dgm:prSet/>
      <dgm:spPr/>
      <dgm:t>
        <a:bodyPr/>
        <a:lstStyle/>
        <a:p>
          <a:endParaRPr lang="en-US"/>
        </a:p>
      </dgm:t>
    </dgm:pt>
    <dgm:pt modelId="{E7BA7D11-A1FC-4EB6-8EC0-4DBCC37ACA73}">
      <dgm:prSet custT="1"/>
      <dgm:spPr>
        <a:solidFill>
          <a:schemeClr val="accent4">
            <a:lumMod val="20000"/>
            <a:lumOff val="80000"/>
          </a:schemeClr>
        </a:solidFill>
      </dgm:spPr>
      <dgm:t>
        <a:bodyPr/>
        <a:lstStyle/>
        <a:p>
          <a:r>
            <a:rPr lang="en-US" sz="1600" b="0" i="0" dirty="0">
              <a:latin typeface="+mn-lt"/>
            </a:rPr>
            <a:t>M02L02Lab01 - Scale up or down an Azure SQL Database (10)</a:t>
          </a:r>
        </a:p>
      </dgm:t>
    </dgm:pt>
    <dgm:pt modelId="{723DBBE9-6638-4FE6-9329-40E95CD4CB05}" type="parTrans" cxnId="{16B5C7CC-5F08-465A-8495-1D373BE7827F}">
      <dgm:prSet/>
      <dgm:spPr/>
      <dgm:t>
        <a:bodyPr/>
        <a:lstStyle/>
        <a:p>
          <a:endParaRPr lang="en-US"/>
        </a:p>
      </dgm:t>
    </dgm:pt>
    <dgm:pt modelId="{9BEF64DF-8DB9-4895-B286-02A4DE2DFFB1}" type="sibTrans" cxnId="{16B5C7CC-5F08-465A-8495-1D373BE7827F}">
      <dgm:prSet/>
      <dgm:spPr/>
      <dgm:t>
        <a:bodyPr/>
        <a:lstStyle/>
        <a:p>
          <a:endParaRPr lang="en-US"/>
        </a:p>
      </dgm:t>
    </dgm:pt>
    <dgm:pt modelId="{C8C671F2-824B-4FE2-BD70-8203D4EEA615}">
      <dgm:prSet custT="1"/>
      <dgm:spPr>
        <a:solidFill>
          <a:schemeClr val="accent4">
            <a:lumMod val="20000"/>
            <a:lumOff val="80000"/>
          </a:schemeClr>
        </a:solidFill>
      </dgm:spPr>
      <dgm:t>
        <a:bodyPr/>
        <a:lstStyle/>
        <a:p>
          <a:r>
            <a:rPr lang="en-US" sz="1600" b="0" i="0" dirty="0">
              <a:latin typeface="+mn-lt"/>
            </a:rPr>
            <a:t>M02L03Lab01 - Elastic Database Jobs (30)</a:t>
          </a:r>
        </a:p>
      </dgm:t>
    </dgm:pt>
    <dgm:pt modelId="{434BF1E8-9A05-4F65-9D53-417425E408DF}" type="parTrans" cxnId="{E80B63F2-D033-4491-9CF7-DC3D4BAB7DFB}">
      <dgm:prSet/>
      <dgm:spPr/>
      <dgm:t>
        <a:bodyPr/>
        <a:lstStyle/>
        <a:p>
          <a:endParaRPr lang="en-US"/>
        </a:p>
      </dgm:t>
    </dgm:pt>
    <dgm:pt modelId="{049D621A-F0A2-421E-92D7-64FE62A37033}" type="sibTrans" cxnId="{E80B63F2-D033-4491-9CF7-DC3D4BAB7DFB}">
      <dgm:prSet/>
      <dgm:spPr/>
      <dgm:t>
        <a:bodyPr/>
        <a:lstStyle/>
        <a:p>
          <a:endParaRPr lang="en-US"/>
        </a:p>
      </dgm:t>
    </dgm:pt>
    <dgm:pt modelId="{DF56BDDB-4F90-40E6-9BCC-9BC289FB1E05}">
      <dgm:prSet custT="1"/>
      <dgm:spPr>
        <a:solidFill>
          <a:schemeClr val="accent1">
            <a:lumMod val="40000"/>
            <a:lumOff val="60000"/>
          </a:schemeClr>
        </a:solidFill>
      </dgm:spPr>
      <dgm:t>
        <a:bodyPr/>
        <a:lstStyle/>
        <a:p>
          <a:r>
            <a:rPr lang="en-US" sz="1600" b="0" i="0" dirty="0">
              <a:latin typeface="+mn-lt"/>
            </a:rPr>
            <a:t>M03L01Lab01 - Point in time restore of an Azure SQL Database (20)</a:t>
          </a:r>
        </a:p>
      </dgm:t>
    </dgm:pt>
    <dgm:pt modelId="{93C1698E-EE32-4FC3-9AEB-B56E236458AF}" type="parTrans" cxnId="{9BE52F1E-C35C-40FE-9017-C58833AB7673}">
      <dgm:prSet/>
      <dgm:spPr/>
      <dgm:t>
        <a:bodyPr/>
        <a:lstStyle/>
        <a:p>
          <a:endParaRPr lang="en-US"/>
        </a:p>
      </dgm:t>
    </dgm:pt>
    <dgm:pt modelId="{F6B592E3-98F6-4CE2-B32D-6951F3BDE42F}" type="sibTrans" cxnId="{9BE52F1E-C35C-40FE-9017-C58833AB7673}">
      <dgm:prSet/>
      <dgm:spPr/>
      <dgm:t>
        <a:bodyPr/>
        <a:lstStyle/>
        <a:p>
          <a:endParaRPr lang="en-US"/>
        </a:p>
      </dgm:t>
    </dgm:pt>
    <dgm:pt modelId="{EC90F783-494C-441A-A88C-905D48463D25}">
      <dgm:prSet custT="1"/>
      <dgm:spPr>
        <a:solidFill>
          <a:schemeClr val="accent1">
            <a:lumMod val="40000"/>
            <a:lumOff val="60000"/>
          </a:schemeClr>
        </a:solidFill>
      </dgm:spPr>
      <dgm:t>
        <a:bodyPr/>
        <a:lstStyle/>
        <a:p>
          <a:r>
            <a:rPr lang="en-US" sz="1600" b="0" i="0" dirty="0">
              <a:latin typeface="+mn-lt"/>
            </a:rPr>
            <a:t>M03L02Lab01 - Configure Geo Replication for an Azure SQL Database (20)</a:t>
          </a:r>
        </a:p>
      </dgm:t>
    </dgm:pt>
    <dgm:pt modelId="{4A1CF368-015C-4152-9352-C90974E8E07E}" type="parTrans" cxnId="{8136CAC9-B48C-463E-BFD2-196508E7606F}">
      <dgm:prSet/>
      <dgm:spPr/>
      <dgm:t>
        <a:bodyPr/>
        <a:lstStyle/>
        <a:p>
          <a:endParaRPr lang="en-US"/>
        </a:p>
      </dgm:t>
    </dgm:pt>
    <dgm:pt modelId="{28371011-F35B-40FC-A3A2-89EB1840C0C6}" type="sibTrans" cxnId="{8136CAC9-B48C-463E-BFD2-196508E7606F}">
      <dgm:prSet/>
      <dgm:spPr/>
      <dgm:t>
        <a:bodyPr/>
        <a:lstStyle/>
        <a:p>
          <a:endParaRPr lang="en-US"/>
        </a:p>
      </dgm:t>
    </dgm:pt>
    <dgm:pt modelId="{AB2ECFC5-844E-4F49-9CAA-7FFDE09FF194}">
      <dgm:prSet custT="1"/>
      <dgm:spPr>
        <a:solidFill>
          <a:schemeClr val="accent1">
            <a:lumMod val="40000"/>
            <a:lumOff val="60000"/>
          </a:schemeClr>
        </a:solidFill>
      </dgm:spPr>
      <dgm:t>
        <a:bodyPr/>
        <a:lstStyle/>
        <a:p>
          <a:r>
            <a:rPr lang="en-US" sz="1600" b="0" i="0" dirty="0">
              <a:latin typeface="+mn-lt"/>
            </a:rPr>
            <a:t>M04L06Lab01 - Implement Always Encrypted (20)</a:t>
          </a:r>
        </a:p>
      </dgm:t>
    </dgm:pt>
    <dgm:pt modelId="{FCA58434-EA01-4E9C-8C76-551EB3C55B24}" type="parTrans" cxnId="{0CDCFD2A-3772-4A2C-84B6-4EDEEBD5D618}">
      <dgm:prSet/>
      <dgm:spPr/>
      <dgm:t>
        <a:bodyPr/>
        <a:lstStyle/>
        <a:p>
          <a:endParaRPr lang="en-US"/>
        </a:p>
      </dgm:t>
    </dgm:pt>
    <dgm:pt modelId="{7FF33A95-B465-4F30-A429-371430F6D2FC}" type="sibTrans" cxnId="{0CDCFD2A-3772-4A2C-84B6-4EDEEBD5D618}">
      <dgm:prSet/>
      <dgm:spPr/>
      <dgm:t>
        <a:bodyPr/>
        <a:lstStyle/>
        <a:p>
          <a:endParaRPr lang="en-US"/>
        </a:p>
      </dgm:t>
    </dgm:pt>
    <dgm:pt modelId="{47F6E119-F06E-41A9-AA5F-D240A83C1EDF}">
      <dgm:prSet custT="1"/>
      <dgm:spPr>
        <a:solidFill>
          <a:schemeClr val="accent1">
            <a:lumMod val="40000"/>
            <a:lumOff val="60000"/>
          </a:schemeClr>
        </a:solidFill>
      </dgm:spPr>
      <dgm:t>
        <a:bodyPr/>
        <a:lstStyle/>
        <a:p>
          <a:r>
            <a:rPr lang="en-US" sz="1600" b="0" i="0" dirty="0">
              <a:latin typeface="+mn-lt"/>
            </a:rPr>
            <a:t>M04L07Lab01 - Implement Row Level Security (10)</a:t>
          </a:r>
        </a:p>
      </dgm:t>
    </dgm:pt>
    <dgm:pt modelId="{C48B9135-91CF-4E4F-9442-4C4D85DB6A0C}" type="parTrans" cxnId="{A5A45EFE-464B-4338-999B-A179EC2D37F2}">
      <dgm:prSet/>
      <dgm:spPr/>
      <dgm:t>
        <a:bodyPr/>
        <a:lstStyle/>
        <a:p>
          <a:endParaRPr lang="en-US"/>
        </a:p>
      </dgm:t>
    </dgm:pt>
    <dgm:pt modelId="{6CE2C79B-A6C1-4F3D-9F7F-6D251248A50B}" type="sibTrans" cxnId="{A5A45EFE-464B-4338-999B-A179EC2D37F2}">
      <dgm:prSet/>
      <dgm:spPr/>
      <dgm:t>
        <a:bodyPr/>
        <a:lstStyle/>
        <a:p>
          <a:endParaRPr lang="en-US"/>
        </a:p>
      </dgm:t>
    </dgm:pt>
    <dgm:pt modelId="{6BD66872-BA50-4D0D-A3B5-D959C1877576}">
      <dgm:prSet custT="1"/>
      <dgm:spPr>
        <a:solidFill>
          <a:schemeClr val="accent1">
            <a:lumMod val="40000"/>
            <a:lumOff val="60000"/>
          </a:schemeClr>
        </a:solidFill>
      </dgm:spPr>
      <dgm:t>
        <a:bodyPr/>
        <a:lstStyle/>
        <a:p>
          <a:r>
            <a:rPr lang="en-US" sz="1600" b="0" i="0" dirty="0">
              <a:latin typeface="+mn-lt"/>
            </a:rPr>
            <a:t>M04L10Lab01 - Vulnerability Assessment (20)</a:t>
          </a:r>
        </a:p>
      </dgm:t>
    </dgm:pt>
    <dgm:pt modelId="{4BC54D9E-B9BE-4F17-B8E7-B2B032A96789}" type="parTrans" cxnId="{DEECAD19-F27B-49FD-B27B-F1759E99E3F1}">
      <dgm:prSet/>
      <dgm:spPr/>
      <dgm:t>
        <a:bodyPr/>
        <a:lstStyle/>
        <a:p>
          <a:endParaRPr lang="en-US"/>
        </a:p>
      </dgm:t>
    </dgm:pt>
    <dgm:pt modelId="{251F7567-C1A5-4386-A6A7-2A024615605C}" type="sibTrans" cxnId="{DEECAD19-F27B-49FD-B27B-F1759E99E3F1}">
      <dgm:prSet/>
      <dgm:spPr/>
      <dgm:t>
        <a:bodyPr/>
        <a:lstStyle/>
        <a:p>
          <a:endParaRPr lang="en-US"/>
        </a:p>
      </dgm:t>
    </dgm:pt>
    <dgm:pt modelId="{DB5DB469-10D2-442C-B697-5A99FCBFDE4F}">
      <dgm:prSet custT="1"/>
      <dgm:spPr>
        <a:solidFill>
          <a:schemeClr val="accent5">
            <a:lumMod val="60000"/>
            <a:lumOff val="40000"/>
          </a:schemeClr>
        </a:solidFill>
      </dgm:spPr>
      <dgm:t>
        <a:bodyPr/>
        <a:lstStyle/>
        <a:p>
          <a:r>
            <a:rPr lang="en-US" sz="1600" b="0" i="0" dirty="0">
              <a:latin typeface="+mn-lt"/>
            </a:rPr>
            <a:t>M05L02Lab01 - Monitoring Query Performance using Query Performance Insights (15)</a:t>
          </a:r>
        </a:p>
      </dgm:t>
    </dgm:pt>
    <dgm:pt modelId="{5E212B7C-B6D9-4DBC-81E0-514143152EC2}" type="parTrans" cxnId="{E5F15BDD-5F32-4E7B-B648-A557A271E69A}">
      <dgm:prSet/>
      <dgm:spPr/>
      <dgm:t>
        <a:bodyPr/>
        <a:lstStyle/>
        <a:p>
          <a:endParaRPr lang="en-US"/>
        </a:p>
      </dgm:t>
    </dgm:pt>
    <dgm:pt modelId="{CBC9E5FC-50D8-47CA-BFDA-E6F2F780B6F4}" type="sibTrans" cxnId="{E5F15BDD-5F32-4E7B-B648-A557A271E69A}">
      <dgm:prSet/>
      <dgm:spPr/>
      <dgm:t>
        <a:bodyPr/>
        <a:lstStyle/>
        <a:p>
          <a:endParaRPr lang="en-US"/>
        </a:p>
      </dgm:t>
    </dgm:pt>
    <dgm:pt modelId="{C7DDCB3A-3694-45EA-AB92-8EB89A96FEB4}">
      <dgm:prSet custT="1"/>
      <dgm:spPr>
        <a:solidFill>
          <a:schemeClr val="accent5">
            <a:lumMod val="60000"/>
            <a:lumOff val="40000"/>
          </a:schemeClr>
        </a:solidFill>
      </dgm:spPr>
      <dgm:t>
        <a:bodyPr/>
        <a:lstStyle/>
        <a:p>
          <a:r>
            <a:rPr lang="en-US" sz="1600" b="0" i="0" dirty="0">
              <a:latin typeface="+mn-lt"/>
            </a:rPr>
            <a:t>M05L05Lab01 - Monitoring Azure SQL Database Performance using Extended Events (10)</a:t>
          </a:r>
        </a:p>
      </dgm:t>
    </dgm:pt>
    <dgm:pt modelId="{FDAA8A0E-1A4C-47C8-8214-6F703458172D}" type="parTrans" cxnId="{7D4B15C1-2D6A-424C-A9DD-110F9C9CA846}">
      <dgm:prSet/>
      <dgm:spPr/>
      <dgm:t>
        <a:bodyPr/>
        <a:lstStyle/>
        <a:p>
          <a:endParaRPr lang="en-US"/>
        </a:p>
      </dgm:t>
    </dgm:pt>
    <dgm:pt modelId="{4E96F519-03F2-4DE8-B851-C24BFB577C75}" type="sibTrans" cxnId="{7D4B15C1-2D6A-424C-A9DD-110F9C9CA846}">
      <dgm:prSet/>
      <dgm:spPr/>
      <dgm:t>
        <a:bodyPr/>
        <a:lstStyle/>
        <a:p>
          <a:endParaRPr lang="en-US"/>
        </a:p>
      </dgm:t>
    </dgm:pt>
    <dgm:pt modelId="{1A1ECA4E-9060-4702-9E42-BFDFB8E7C062}">
      <dgm:prSet custT="1"/>
      <dgm:spPr>
        <a:solidFill>
          <a:schemeClr val="accent5">
            <a:lumMod val="60000"/>
            <a:lumOff val="40000"/>
          </a:schemeClr>
        </a:solidFill>
      </dgm:spPr>
      <dgm:t>
        <a:bodyPr/>
        <a:lstStyle/>
        <a:p>
          <a:r>
            <a:rPr lang="en-US" sz="1600" b="0" i="0" dirty="0">
              <a:latin typeface="+mn-lt"/>
            </a:rPr>
            <a:t>M06L05Lab01 - Migrate a Compatible SQL Server Database to Azure SQL Database (30)</a:t>
          </a:r>
        </a:p>
      </dgm:t>
    </dgm:pt>
    <dgm:pt modelId="{9DCFEE4B-65A0-4B10-92A8-31D21D0BFAAB}" type="parTrans" cxnId="{12CA33CC-BEBB-4815-BE3B-450461C00FEB}">
      <dgm:prSet/>
      <dgm:spPr/>
      <dgm:t>
        <a:bodyPr/>
        <a:lstStyle/>
        <a:p>
          <a:endParaRPr lang="en-US"/>
        </a:p>
      </dgm:t>
    </dgm:pt>
    <dgm:pt modelId="{ABB55F72-7BB2-42AF-8264-8F0E193004D7}" type="sibTrans" cxnId="{12CA33CC-BEBB-4815-BE3B-450461C00FEB}">
      <dgm:prSet/>
      <dgm:spPr/>
      <dgm:t>
        <a:bodyPr/>
        <a:lstStyle/>
        <a:p>
          <a:endParaRPr lang="en-US"/>
        </a:p>
      </dgm:t>
    </dgm:pt>
    <dgm:pt modelId="{4FFF4182-BC61-4A3E-9F42-F8E0565D6C91}">
      <dgm:prSet custT="1"/>
      <dgm:spPr>
        <a:solidFill>
          <a:schemeClr val="accent5">
            <a:lumMod val="60000"/>
            <a:lumOff val="40000"/>
          </a:schemeClr>
        </a:solidFill>
      </dgm:spPr>
      <dgm:t>
        <a:bodyPr/>
        <a:lstStyle/>
        <a:p>
          <a:r>
            <a:rPr lang="en-US" sz="1600" b="0" i="0" dirty="0">
              <a:latin typeface="+mn-lt"/>
            </a:rPr>
            <a:t>M06L06Lab01 - Azure SQL Data Sync (20)</a:t>
          </a:r>
        </a:p>
      </dgm:t>
    </dgm:pt>
    <dgm:pt modelId="{6E20243C-3A3F-468F-A660-0281AAE7C1F1}" type="parTrans" cxnId="{155CFA92-9AC7-463F-A54D-8756FB74FFE3}">
      <dgm:prSet/>
      <dgm:spPr/>
      <dgm:t>
        <a:bodyPr/>
        <a:lstStyle/>
        <a:p>
          <a:endParaRPr lang="en-US"/>
        </a:p>
      </dgm:t>
    </dgm:pt>
    <dgm:pt modelId="{EFBDB5A2-7E3F-44FE-8A82-9BEE42934E76}" type="sibTrans" cxnId="{155CFA92-9AC7-463F-A54D-8756FB74FFE3}">
      <dgm:prSet/>
      <dgm:spPr/>
      <dgm:t>
        <a:bodyPr/>
        <a:lstStyle/>
        <a:p>
          <a:endParaRPr lang="en-US"/>
        </a:p>
      </dgm:t>
    </dgm:pt>
    <dgm:pt modelId="{7A42AD60-9D79-474F-8A4E-68C417581E57}" type="pres">
      <dgm:prSet presAssocID="{58829BD2-5F0C-4301-8DD2-5F7AAE65E849}" presName="linear" presStyleCnt="0">
        <dgm:presLayoutVars>
          <dgm:animLvl val="lvl"/>
          <dgm:resizeHandles val="exact"/>
        </dgm:presLayoutVars>
      </dgm:prSet>
      <dgm:spPr/>
    </dgm:pt>
    <dgm:pt modelId="{2FD5A3B7-A5B1-4309-869B-C616A862E904}" type="pres">
      <dgm:prSet presAssocID="{2E1D1905-C880-4638-B61C-108A9546B016}" presName="parentText" presStyleLbl="node1" presStyleIdx="0" presStyleCnt="13">
        <dgm:presLayoutVars>
          <dgm:chMax val="0"/>
          <dgm:bulletEnabled val="1"/>
        </dgm:presLayoutVars>
      </dgm:prSet>
      <dgm:spPr/>
    </dgm:pt>
    <dgm:pt modelId="{37E4B5A7-BBE2-4A6D-BE3B-F3ECE13D125A}" type="pres">
      <dgm:prSet presAssocID="{4169F4EC-7AEF-4187-A00C-FDF93DA31A0F}" presName="spacer" presStyleCnt="0"/>
      <dgm:spPr/>
    </dgm:pt>
    <dgm:pt modelId="{EA84AF5E-DFEE-4C4D-9C58-7EFEEF289B6B}" type="pres">
      <dgm:prSet presAssocID="{43AE41A6-0201-4510-AF41-7ED0972AEC2F}" presName="parentText" presStyleLbl="node1" presStyleIdx="1" presStyleCnt="13">
        <dgm:presLayoutVars>
          <dgm:chMax val="0"/>
          <dgm:bulletEnabled val="1"/>
        </dgm:presLayoutVars>
      </dgm:prSet>
      <dgm:spPr/>
    </dgm:pt>
    <dgm:pt modelId="{5151D903-0CDF-414C-8702-DA8D65007DB8}" type="pres">
      <dgm:prSet presAssocID="{ECAE0924-02DA-4413-9B22-9B7782DF26B0}" presName="spacer" presStyleCnt="0"/>
      <dgm:spPr/>
    </dgm:pt>
    <dgm:pt modelId="{B02780E6-60D8-4F8B-A07D-E58F495142A6}" type="pres">
      <dgm:prSet presAssocID="{E7BA7D11-A1FC-4EB6-8EC0-4DBCC37ACA73}" presName="parentText" presStyleLbl="node1" presStyleIdx="2" presStyleCnt="13">
        <dgm:presLayoutVars>
          <dgm:chMax val="0"/>
          <dgm:bulletEnabled val="1"/>
        </dgm:presLayoutVars>
      </dgm:prSet>
      <dgm:spPr/>
    </dgm:pt>
    <dgm:pt modelId="{D6432469-8C27-48E8-80BD-9BCAF9FB39CF}" type="pres">
      <dgm:prSet presAssocID="{9BEF64DF-8DB9-4895-B286-02A4DE2DFFB1}" presName="spacer" presStyleCnt="0"/>
      <dgm:spPr/>
    </dgm:pt>
    <dgm:pt modelId="{CAEF0414-B700-469E-B386-9984FBDAE76D}" type="pres">
      <dgm:prSet presAssocID="{C8C671F2-824B-4FE2-BD70-8203D4EEA615}" presName="parentText" presStyleLbl="node1" presStyleIdx="3" presStyleCnt="13">
        <dgm:presLayoutVars>
          <dgm:chMax val="0"/>
          <dgm:bulletEnabled val="1"/>
        </dgm:presLayoutVars>
      </dgm:prSet>
      <dgm:spPr/>
    </dgm:pt>
    <dgm:pt modelId="{60209210-0C7A-40D2-9065-CD249849CBA1}" type="pres">
      <dgm:prSet presAssocID="{049D621A-F0A2-421E-92D7-64FE62A37033}" presName="spacer" presStyleCnt="0"/>
      <dgm:spPr/>
    </dgm:pt>
    <dgm:pt modelId="{7DCAEC0C-85B3-45A2-A4DA-FCFF04742AEF}" type="pres">
      <dgm:prSet presAssocID="{DF56BDDB-4F90-40E6-9BCC-9BC289FB1E05}" presName="parentText" presStyleLbl="node1" presStyleIdx="4" presStyleCnt="13">
        <dgm:presLayoutVars>
          <dgm:chMax val="0"/>
          <dgm:bulletEnabled val="1"/>
        </dgm:presLayoutVars>
      </dgm:prSet>
      <dgm:spPr/>
    </dgm:pt>
    <dgm:pt modelId="{3807E478-033A-4DC4-88F4-C3747ABC30DD}" type="pres">
      <dgm:prSet presAssocID="{F6B592E3-98F6-4CE2-B32D-6951F3BDE42F}" presName="spacer" presStyleCnt="0"/>
      <dgm:spPr/>
    </dgm:pt>
    <dgm:pt modelId="{C100254D-591A-4948-8C23-E56F620BFCC9}" type="pres">
      <dgm:prSet presAssocID="{EC90F783-494C-441A-A88C-905D48463D25}" presName="parentText" presStyleLbl="node1" presStyleIdx="5" presStyleCnt="13">
        <dgm:presLayoutVars>
          <dgm:chMax val="0"/>
          <dgm:bulletEnabled val="1"/>
        </dgm:presLayoutVars>
      </dgm:prSet>
      <dgm:spPr/>
    </dgm:pt>
    <dgm:pt modelId="{3EBDEB8E-43C5-4A8D-B8A0-19628169E582}" type="pres">
      <dgm:prSet presAssocID="{28371011-F35B-40FC-A3A2-89EB1840C0C6}" presName="spacer" presStyleCnt="0"/>
      <dgm:spPr/>
    </dgm:pt>
    <dgm:pt modelId="{5D2F77F1-BC78-4378-A9A1-81613CC412AA}" type="pres">
      <dgm:prSet presAssocID="{AB2ECFC5-844E-4F49-9CAA-7FFDE09FF194}" presName="parentText" presStyleLbl="node1" presStyleIdx="6" presStyleCnt="13">
        <dgm:presLayoutVars>
          <dgm:chMax val="0"/>
          <dgm:bulletEnabled val="1"/>
        </dgm:presLayoutVars>
      </dgm:prSet>
      <dgm:spPr/>
    </dgm:pt>
    <dgm:pt modelId="{6150285B-9510-4E33-B967-0663BBF92CFE}" type="pres">
      <dgm:prSet presAssocID="{7FF33A95-B465-4F30-A429-371430F6D2FC}" presName="spacer" presStyleCnt="0"/>
      <dgm:spPr/>
    </dgm:pt>
    <dgm:pt modelId="{7BA00FA3-1DB2-47AC-A08E-6E6917FA675E}" type="pres">
      <dgm:prSet presAssocID="{47F6E119-F06E-41A9-AA5F-D240A83C1EDF}" presName="parentText" presStyleLbl="node1" presStyleIdx="7" presStyleCnt="13">
        <dgm:presLayoutVars>
          <dgm:chMax val="0"/>
          <dgm:bulletEnabled val="1"/>
        </dgm:presLayoutVars>
      </dgm:prSet>
      <dgm:spPr/>
    </dgm:pt>
    <dgm:pt modelId="{C219C09F-BB74-4BAF-ADBF-771B76134D67}" type="pres">
      <dgm:prSet presAssocID="{6CE2C79B-A6C1-4F3D-9F7F-6D251248A50B}" presName="spacer" presStyleCnt="0"/>
      <dgm:spPr/>
    </dgm:pt>
    <dgm:pt modelId="{9C1B2995-C5CD-4505-AC28-216033E96F5D}" type="pres">
      <dgm:prSet presAssocID="{6BD66872-BA50-4D0D-A3B5-D959C1877576}" presName="parentText" presStyleLbl="node1" presStyleIdx="8" presStyleCnt="13">
        <dgm:presLayoutVars>
          <dgm:chMax val="0"/>
          <dgm:bulletEnabled val="1"/>
        </dgm:presLayoutVars>
      </dgm:prSet>
      <dgm:spPr/>
    </dgm:pt>
    <dgm:pt modelId="{154B7746-45F6-4ACD-B292-959A1FFD021D}" type="pres">
      <dgm:prSet presAssocID="{251F7567-C1A5-4386-A6A7-2A024615605C}" presName="spacer" presStyleCnt="0"/>
      <dgm:spPr/>
    </dgm:pt>
    <dgm:pt modelId="{4F55F967-0C1F-4C6A-8963-CB863A222ECC}" type="pres">
      <dgm:prSet presAssocID="{DB5DB469-10D2-442C-B697-5A99FCBFDE4F}" presName="parentText" presStyleLbl="node1" presStyleIdx="9" presStyleCnt="13">
        <dgm:presLayoutVars>
          <dgm:chMax val="0"/>
          <dgm:bulletEnabled val="1"/>
        </dgm:presLayoutVars>
      </dgm:prSet>
      <dgm:spPr/>
    </dgm:pt>
    <dgm:pt modelId="{62C4A48D-7B1B-4F86-8383-0D4A91DEDD43}" type="pres">
      <dgm:prSet presAssocID="{CBC9E5FC-50D8-47CA-BFDA-E6F2F780B6F4}" presName="spacer" presStyleCnt="0"/>
      <dgm:spPr/>
    </dgm:pt>
    <dgm:pt modelId="{29375FCF-EC01-468F-99B7-A3E252631BC3}" type="pres">
      <dgm:prSet presAssocID="{C7DDCB3A-3694-45EA-AB92-8EB89A96FEB4}" presName="parentText" presStyleLbl="node1" presStyleIdx="10" presStyleCnt="13">
        <dgm:presLayoutVars>
          <dgm:chMax val="0"/>
          <dgm:bulletEnabled val="1"/>
        </dgm:presLayoutVars>
      </dgm:prSet>
      <dgm:spPr/>
    </dgm:pt>
    <dgm:pt modelId="{B1CD28CF-8262-4B00-8591-84F834BC00E7}" type="pres">
      <dgm:prSet presAssocID="{4E96F519-03F2-4DE8-B851-C24BFB577C75}" presName="spacer" presStyleCnt="0"/>
      <dgm:spPr/>
    </dgm:pt>
    <dgm:pt modelId="{875B2473-9BD5-4A38-94B0-7CDA3FEDE6B2}" type="pres">
      <dgm:prSet presAssocID="{1A1ECA4E-9060-4702-9E42-BFDFB8E7C062}" presName="parentText" presStyleLbl="node1" presStyleIdx="11" presStyleCnt="13">
        <dgm:presLayoutVars>
          <dgm:chMax val="0"/>
          <dgm:bulletEnabled val="1"/>
        </dgm:presLayoutVars>
      </dgm:prSet>
      <dgm:spPr/>
    </dgm:pt>
    <dgm:pt modelId="{A1BC910A-097A-4A07-9A1C-B9E9B9468736}" type="pres">
      <dgm:prSet presAssocID="{ABB55F72-7BB2-42AF-8264-8F0E193004D7}" presName="spacer" presStyleCnt="0"/>
      <dgm:spPr/>
    </dgm:pt>
    <dgm:pt modelId="{5C36FA82-5DD8-44F2-91CE-A68E5AC4D828}" type="pres">
      <dgm:prSet presAssocID="{4FFF4182-BC61-4A3E-9F42-F8E0565D6C91}" presName="parentText" presStyleLbl="node1" presStyleIdx="12" presStyleCnt="13">
        <dgm:presLayoutVars>
          <dgm:chMax val="0"/>
          <dgm:bulletEnabled val="1"/>
        </dgm:presLayoutVars>
      </dgm:prSet>
      <dgm:spPr/>
    </dgm:pt>
  </dgm:ptLst>
  <dgm:cxnLst>
    <dgm:cxn modelId="{18CFE209-CC81-4141-9F73-73A2AEA0CA23}" type="presOf" srcId="{2E1D1905-C880-4638-B61C-108A9546B016}" destId="{2FD5A3B7-A5B1-4309-869B-C616A862E904}" srcOrd="0" destOrd="0" presId="urn:microsoft.com/office/officeart/2005/8/layout/vList2"/>
    <dgm:cxn modelId="{DEECAD19-F27B-49FD-B27B-F1759E99E3F1}" srcId="{58829BD2-5F0C-4301-8DD2-5F7AAE65E849}" destId="{6BD66872-BA50-4D0D-A3B5-D959C1877576}" srcOrd="8" destOrd="0" parTransId="{4BC54D9E-B9BE-4F17-B8E7-B2B032A96789}" sibTransId="{251F7567-C1A5-4386-A6A7-2A024615605C}"/>
    <dgm:cxn modelId="{9BE52F1E-C35C-40FE-9017-C58833AB7673}" srcId="{58829BD2-5F0C-4301-8DD2-5F7AAE65E849}" destId="{DF56BDDB-4F90-40E6-9BCC-9BC289FB1E05}" srcOrd="4" destOrd="0" parTransId="{93C1698E-EE32-4FC3-9AEB-B56E236458AF}" sibTransId="{F6B592E3-98F6-4CE2-B32D-6951F3BDE42F}"/>
    <dgm:cxn modelId="{21748B26-7183-4D95-A2F1-D6EBE11A015A}" type="presOf" srcId="{EC90F783-494C-441A-A88C-905D48463D25}" destId="{C100254D-591A-4948-8C23-E56F620BFCC9}" srcOrd="0" destOrd="0" presId="urn:microsoft.com/office/officeart/2005/8/layout/vList2"/>
    <dgm:cxn modelId="{0CDCFD2A-3772-4A2C-84B6-4EDEEBD5D618}" srcId="{58829BD2-5F0C-4301-8DD2-5F7AAE65E849}" destId="{AB2ECFC5-844E-4F49-9CAA-7FFDE09FF194}" srcOrd="6" destOrd="0" parTransId="{FCA58434-EA01-4E9C-8C76-551EB3C55B24}" sibTransId="{7FF33A95-B465-4F30-A429-371430F6D2FC}"/>
    <dgm:cxn modelId="{0E52CA32-CDFF-4123-B98E-98CE93A44FE7}" type="presOf" srcId="{DB5DB469-10D2-442C-B697-5A99FCBFDE4F}" destId="{4F55F967-0C1F-4C6A-8963-CB863A222ECC}" srcOrd="0" destOrd="0" presId="urn:microsoft.com/office/officeart/2005/8/layout/vList2"/>
    <dgm:cxn modelId="{3AA6F143-DD6A-4407-9D41-CCEFD6D9DA61}" type="presOf" srcId="{43AE41A6-0201-4510-AF41-7ED0972AEC2F}" destId="{EA84AF5E-DFEE-4C4D-9C58-7EFEEF289B6B}" srcOrd="0" destOrd="0" presId="urn:microsoft.com/office/officeart/2005/8/layout/vList2"/>
    <dgm:cxn modelId="{398DFE6D-50D6-4958-9DE9-622CD6D9BF35}" type="presOf" srcId="{6BD66872-BA50-4D0D-A3B5-D959C1877576}" destId="{9C1B2995-C5CD-4505-AC28-216033E96F5D}" srcOrd="0" destOrd="0" presId="urn:microsoft.com/office/officeart/2005/8/layout/vList2"/>
    <dgm:cxn modelId="{5569B87F-BD63-4C82-B2AB-FE5E087A634F}" type="presOf" srcId="{C8C671F2-824B-4FE2-BD70-8203D4EEA615}" destId="{CAEF0414-B700-469E-B386-9984FBDAE76D}" srcOrd="0" destOrd="0" presId="urn:microsoft.com/office/officeart/2005/8/layout/vList2"/>
    <dgm:cxn modelId="{AB14E18B-EF5C-4532-8C4B-9AF4B0C2C871}" type="presOf" srcId="{AB2ECFC5-844E-4F49-9CAA-7FFDE09FF194}" destId="{5D2F77F1-BC78-4378-A9A1-81613CC412AA}" srcOrd="0" destOrd="0" presId="urn:microsoft.com/office/officeart/2005/8/layout/vList2"/>
    <dgm:cxn modelId="{155CFA92-9AC7-463F-A54D-8756FB74FFE3}" srcId="{58829BD2-5F0C-4301-8DD2-5F7AAE65E849}" destId="{4FFF4182-BC61-4A3E-9F42-F8E0565D6C91}" srcOrd="12" destOrd="0" parTransId="{6E20243C-3A3F-468F-A660-0281AAE7C1F1}" sibTransId="{EFBDB5A2-7E3F-44FE-8A82-9BEE42934E76}"/>
    <dgm:cxn modelId="{B9642A94-E836-4515-BFDA-D82031BD0A11}" type="presOf" srcId="{47F6E119-F06E-41A9-AA5F-D240A83C1EDF}" destId="{7BA00FA3-1DB2-47AC-A08E-6E6917FA675E}" srcOrd="0" destOrd="0" presId="urn:microsoft.com/office/officeart/2005/8/layout/vList2"/>
    <dgm:cxn modelId="{FABB489D-C49B-46B0-B2A9-A9CFE7D4FBAF}" type="presOf" srcId="{4FFF4182-BC61-4A3E-9F42-F8E0565D6C91}" destId="{5C36FA82-5DD8-44F2-91CE-A68E5AC4D828}" srcOrd="0" destOrd="0" presId="urn:microsoft.com/office/officeart/2005/8/layout/vList2"/>
    <dgm:cxn modelId="{E7C9569D-BFD1-45E5-9232-F8523233BD9D}" srcId="{58829BD2-5F0C-4301-8DD2-5F7AAE65E849}" destId="{2E1D1905-C880-4638-B61C-108A9546B016}" srcOrd="0" destOrd="0" parTransId="{DCC5CA27-7DB8-4A33-9CB9-0910731517DA}" sibTransId="{4169F4EC-7AEF-4187-A00C-FDF93DA31A0F}"/>
    <dgm:cxn modelId="{2B65CCB6-FC35-466A-A0D6-79D932E03420}" type="presOf" srcId="{E7BA7D11-A1FC-4EB6-8EC0-4DBCC37ACA73}" destId="{B02780E6-60D8-4F8B-A07D-E58F495142A6}" srcOrd="0" destOrd="0" presId="urn:microsoft.com/office/officeart/2005/8/layout/vList2"/>
    <dgm:cxn modelId="{FBDE83BC-52CF-4D1B-BFD9-D57B26156E4C}" srcId="{58829BD2-5F0C-4301-8DD2-5F7AAE65E849}" destId="{43AE41A6-0201-4510-AF41-7ED0972AEC2F}" srcOrd="1" destOrd="0" parTransId="{740906E0-5B4D-45C5-83E4-ACA747860FEE}" sibTransId="{ECAE0924-02DA-4413-9B22-9B7782DF26B0}"/>
    <dgm:cxn modelId="{7D4B15C1-2D6A-424C-A9DD-110F9C9CA846}" srcId="{58829BD2-5F0C-4301-8DD2-5F7AAE65E849}" destId="{C7DDCB3A-3694-45EA-AB92-8EB89A96FEB4}" srcOrd="10" destOrd="0" parTransId="{FDAA8A0E-1A4C-47C8-8214-6F703458172D}" sibTransId="{4E96F519-03F2-4DE8-B851-C24BFB577C75}"/>
    <dgm:cxn modelId="{8136CAC9-B48C-463E-BFD2-196508E7606F}" srcId="{58829BD2-5F0C-4301-8DD2-5F7AAE65E849}" destId="{EC90F783-494C-441A-A88C-905D48463D25}" srcOrd="5" destOrd="0" parTransId="{4A1CF368-015C-4152-9352-C90974E8E07E}" sibTransId="{28371011-F35B-40FC-A3A2-89EB1840C0C6}"/>
    <dgm:cxn modelId="{12CA33CC-BEBB-4815-BE3B-450461C00FEB}" srcId="{58829BD2-5F0C-4301-8DD2-5F7AAE65E849}" destId="{1A1ECA4E-9060-4702-9E42-BFDFB8E7C062}" srcOrd="11" destOrd="0" parTransId="{9DCFEE4B-65A0-4B10-92A8-31D21D0BFAAB}" sibTransId="{ABB55F72-7BB2-42AF-8264-8F0E193004D7}"/>
    <dgm:cxn modelId="{16B5C7CC-5F08-465A-8495-1D373BE7827F}" srcId="{58829BD2-5F0C-4301-8DD2-5F7AAE65E849}" destId="{E7BA7D11-A1FC-4EB6-8EC0-4DBCC37ACA73}" srcOrd="2" destOrd="0" parTransId="{723DBBE9-6638-4FE6-9329-40E95CD4CB05}" sibTransId="{9BEF64DF-8DB9-4895-B286-02A4DE2DFFB1}"/>
    <dgm:cxn modelId="{A470B9CF-CF28-4AD0-880E-451A11FAFFA8}" type="presOf" srcId="{1A1ECA4E-9060-4702-9E42-BFDFB8E7C062}" destId="{875B2473-9BD5-4A38-94B0-7CDA3FEDE6B2}" srcOrd="0" destOrd="0" presId="urn:microsoft.com/office/officeart/2005/8/layout/vList2"/>
    <dgm:cxn modelId="{E5F15BDD-5F32-4E7B-B648-A557A271E69A}" srcId="{58829BD2-5F0C-4301-8DD2-5F7AAE65E849}" destId="{DB5DB469-10D2-442C-B697-5A99FCBFDE4F}" srcOrd="9" destOrd="0" parTransId="{5E212B7C-B6D9-4DBC-81E0-514143152EC2}" sibTransId="{CBC9E5FC-50D8-47CA-BFDA-E6F2F780B6F4}"/>
    <dgm:cxn modelId="{7DD082EF-0CD3-4D13-B6AE-2E576CA83DC2}" type="presOf" srcId="{DF56BDDB-4F90-40E6-9BCC-9BC289FB1E05}" destId="{7DCAEC0C-85B3-45A2-A4DA-FCFF04742AEF}" srcOrd="0" destOrd="0" presId="urn:microsoft.com/office/officeart/2005/8/layout/vList2"/>
    <dgm:cxn modelId="{B38518F0-7270-473A-894A-9192ED77E597}" type="presOf" srcId="{58829BD2-5F0C-4301-8DD2-5F7AAE65E849}" destId="{7A42AD60-9D79-474F-8A4E-68C417581E57}" srcOrd="0" destOrd="0" presId="urn:microsoft.com/office/officeart/2005/8/layout/vList2"/>
    <dgm:cxn modelId="{E80B63F2-D033-4491-9CF7-DC3D4BAB7DFB}" srcId="{58829BD2-5F0C-4301-8DD2-5F7AAE65E849}" destId="{C8C671F2-824B-4FE2-BD70-8203D4EEA615}" srcOrd="3" destOrd="0" parTransId="{434BF1E8-9A05-4F65-9D53-417425E408DF}" sibTransId="{049D621A-F0A2-421E-92D7-64FE62A37033}"/>
    <dgm:cxn modelId="{761A8DF3-4798-48B6-BEEF-B3065AE2B31B}" type="presOf" srcId="{C7DDCB3A-3694-45EA-AB92-8EB89A96FEB4}" destId="{29375FCF-EC01-468F-99B7-A3E252631BC3}" srcOrd="0" destOrd="0" presId="urn:microsoft.com/office/officeart/2005/8/layout/vList2"/>
    <dgm:cxn modelId="{A5A45EFE-464B-4338-999B-A179EC2D37F2}" srcId="{58829BD2-5F0C-4301-8DD2-5F7AAE65E849}" destId="{47F6E119-F06E-41A9-AA5F-D240A83C1EDF}" srcOrd="7" destOrd="0" parTransId="{C48B9135-91CF-4E4F-9442-4C4D85DB6A0C}" sibTransId="{6CE2C79B-A6C1-4F3D-9F7F-6D251248A50B}"/>
    <dgm:cxn modelId="{88A2B58F-D1A7-419E-9436-0642909A6173}" type="presParOf" srcId="{7A42AD60-9D79-474F-8A4E-68C417581E57}" destId="{2FD5A3B7-A5B1-4309-869B-C616A862E904}" srcOrd="0" destOrd="0" presId="urn:microsoft.com/office/officeart/2005/8/layout/vList2"/>
    <dgm:cxn modelId="{7B1A2C7A-E6CA-4B1B-B0AE-4112F7E47E9B}" type="presParOf" srcId="{7A42AD60-9D79-474F-8A4E-68C417581E57}" destId="{37E4B5A7-BBE2-4A6D-BE3B-F3ECE13D125A}" srcOrd="1" destOrd="0" presId="urn:microsoft.com/office/officeart/2005/8/layout/vList2"/>
    <dgm:cxn modelId="{EE27B349-2A56-42BB-999B-933F0E5C3D72}" type="presParOf" srcId="{7A42AD60-9D79-474F-8A4E-68C417581E57}" destId="{EA84AF5E-DFEE-4C4D-9C58-7EFEEF289B6B}" srcOrd="2" destOrd="0" presId="urn:microsoft.com/office/officeart/2005/8/layout/vList2"/>
    <dgm:cxn modelId="{9EF915CB-5C40-44DE-A9F8-0AD9E1CE4353}" type="presParOf" srcId="{7A42AD60-9D79-474F-8A4E-68C417581E57}" destId="{5151D903-0CDF-414C-8702-DA8D65007DB8}" srcOrd="3" destOrd="0" presId="urn:microsoft.com/office/officeart/2005/8/layout/vList2"/>
    <dgm:cxn modelId="{2964CBD9-89B7-4A8D-8A12-9E995B8FBFEE}" type="presParOf" srcId="{7A42AD60-9D79-474F-8A4E-68C417581E57}" destId="{B02780E6-60D8-4F8B-A07D-E58F495142A6}" srcOrd="4" destOrd="0" presId="urn:microsoft.com/office/officeart/2005/8/layout/vList2"/>
    <dgm:cxn modelId="{11F8A2E1-86BC-4C23-B6D9-1E2A0AA71CBC}" type="presParOf" srcId="{7A42AD60-9D79-474F-8A4E-68C417581E57}" destId="{D6432469-8C27-48E8-80BD-9BCAF9FB39CF}" srcOrd="5" destOrd="0" presId="urn:microsoft.com/office/officeart/2005/8/layout/vList2"/>
    <dgm:cxn modelId="{580C03DF-3AEB-41C1-9BDD-B45ADDAB7823}" type="presParOf" srcId="{7A42AD60-9D79-474F-8A4E-68C417581E57}" destId="{CAEF0414-B700-469E-B386-9984FBDAE76D}" srcOrd="6" destOrd="0" presId="urn:microsoft.com/office/officeart/2005/8/layout/vList2"/>
    <dgm:cxn modelId="{4F143B2D-7BB1-49B5-A6F2-C438749B366C}" type="presParOf" srcId="{7A42AD60-9D79-474F-8A4E-68C417581E57}" destId="{60209210-0C7A-40D2-9065-CD249849CBA1}" srcOrd="7" destOrd="0" presId="urn:microsoft.com/office/officeart/2005/8/layout/vList2"/>
    <dgm:cxn modelId="{01DFC164-69CA-4E79-8423-BEE34A60806A}" type="presParOf" srcId="{7A42AD60-9D79-474F-8A4E-68C417581E57}" destId="{7DCAEC0C-85B3-45A2-A4DA-FCFF04742AEF}" srcOrd="8" destOrd="0" presId="urn:microsoft.com/office/officeart/2005/8/layout/vList2"/>
    <dgm:cxn modelId="{86DB8318-2CB8-4A1B-AA3B-A8B87EAC1C0B}" type="presParOf" srcId="{7A42AD60-9D79-474F-8A4E-68C417581E57}" destId="{3807E478-033A-4DC4-88F4-C3747ABC30DD}" srcOrd="9" destOrd="0" presId="urn:microsoft.com/office/officeart/2005/8/layout/vList2"/>
    <dgm:cxn modelId="{962FD2C7-6246-43D3-B79A-9132D2E19639}" type="presParOf" srcId="{7A42AD60-9D79-474F-8A4E-68C417581E57}" destId="{C100254D-591A-4948-8C23-E56F620BFCC9}" srcOrd="10" destOrd="0" presId="urn:microsoft.com/office/officeart/2005/8/layout/vList2"/>
    <dgm:cxn modelId="{C1CB7E83-6F97-401C-A9A9-D2137DE09CDD}" type="presParOf" srcId="{7A42AD60-9D79-474F-8A4E-68C417581E57}" destId="{3EBDEB8E-43C5-4A8D-B8A0-19628169E582}" srcOrd="11" destOrd="0" presId="urn:microsoft.com/office/officeart/2005/8/layout/vList2"/>
    <dgm:cxn modelId="{00269E08-3E11-4805-B101-FE4149C50745}" type="presParOf" srcId="{7A42AD60-9D79-474F-8A4E-68C417581E57}" destId="{5D2F77F1-BC78-4378-A9A1-81613CC412AA}" srcOrd="12" destOrd="0" presId="urn:microsoft.com/office/officeart/2005/8/layout/vList2"/>
    <dgm:cxn modelId="{AA37E29E-CA98-4281-AA8A-B9E16A89D646}" type="presParOf" srcId="{7A42AD60-9D79-474F-8A4E-68C417581E57}" destId="{6150285B-9510-4E33-B967-0663BBF92CFE}" srcOrd="13" destOrd="0" presId="urn:microsoft.com/office/officeart/2005/8/layout/vList2"/>
    <dgm:cxn modelId="{E7D612CA-B71F-4BA7-8830-E558328DCC16}" type="presParOf" srcId="{7A42AD60-9D79-474F-8A4E-68C417581E57}" destId="{7BA00FA3-1DB2-47AC-A08E-6E6917FA675E}" srcOrd="14" destOrd="0" presId="urn:microsoft.com/office/officeart/2005/8/layout/vList2"/>
    <dgm:cxn modelId="{6F357241-5F40-4991-9CE0-3D9EA6C1E937}" type="presParOf" srcId="{7A42AD60-9D79-474F-8A4E-68C417581E57}" destId="{C219C09F-BB74-4BAF-ADBF-771B76134D67}" srcOrd="15" destOrd="0" presId="urn:microsoft.com/office/officeart/2005/8/layout/vList2"/>
    <dgm:cxn modelId="{D78B3754-3121-4801-BA54-F16CED9EAE04}" type="presParOf" srcId="{7A42AD60-9D79-474F-8A4E-68C417581E57}" destId="{9C1B2995-C5CD-4505-AC28-216033E96F5D}" srcOrd="16" destOrd="0" presId="urn:microsoft.com/office/officeart/2005/8/layout/vList2"/>
    <dgm:cxn modelId="{8734134F-6E69-458A-A36E-A7B7D82B8FDE}" type="presParOf" srcId="{7A42AD60-9D79-474F-8A4E-68C417581E57}" destId="{154B7746-45F6-4ACD-B292-959A1FFD021D}" srcOrd="17" destOrd="0" presId="urn:microsoft.com/office/officeart/2005/8/layout/vList2"/>
    <dgm:cxn modelId="{20775A5F-B26B-461F-8360-CC782048E483}" type="presParOf" srcId="{7A42AD60-9D79-474F-8A4E-68C417581E57}" destId="{4F55F967-0C1F-4C6A-8963-CB863A222ECC}" srcOrd="18" destOrd="0" presId="urn:microsoft.com/office/officeart/2005/8/layout/vList2"/>
    <dgm:cxn modelId="{95A1A0FB-8585-40DC-9DE3-19B2B9D044B3}" type="presParOf" srcId="{7A42AD60-9D79-474F-8A4E-68C417581E57}" destId="{62C4A48D-7B1B-4F86-8383-0D4A91DEDD43}" srcOrd="19" destOrd="0" presId="urn:microsoft.com/office/officeart/2005/8/layout/vList2"/>
    <dgm:cxn modelId="{43201A20-8C35-4B1A-B8A4-7101A1B26323}" type="presParOf" srcId="{7A42AD60-9D79-474F-8A4E-68C417581E57}" destId="{29375FCF-EC01-468F-99B7-A3E252631BC3}" srcOrd="20" destOrd="0" presId="urn:microsoft.com/office/officeart/2005/8/layout/vList2"/>
    <dgm:cxn modelId="{D2911DE8-E5BE-4BE6-98D8-E0EF7E1C81A0}" type="presParOf" srcId="{7A42AD60-9D79-474F-8A4E-68C417581E57}" destId="{B1CD28CF-8262-4B00-8591-84F834BC00E7}" srcOrd="21" destOrd="0" presId="urn:microsoft.com/office/officeart/2005/8/layout/vList2"/>
    <dgm:cxn modelId="{889DFAED-D975-4543-871D-1F88FA923984}" type="presParOf" srcId="{7A42AD60-9D79-474F-8A4E-68C417581E57}" destId="{875B2473-9BD5-4A38-94B0-7CDA3FEDE6B2}" srcOrd="22" destOrd="0" presId="urn:microsoft.com/office/officeart/2005/8/layout/vList2"/>
    <dgm:cxn modelId="{3FAFE8DC-76DE-43B0-82C7-B8ABC6C8B87A}" type="presParOf" srcId="{7A42AD60-9D79-474F-8A4E-68C417581E57}" destId="{A1BC910A-097A-4A07-9A1C-B9E9B9468736}" srcOrd="23" destOrd="0" presId="urn:microsoft.com/office/officeart/2005/8/layout/vList2"/>
    <dgm:cxn modelId="{CCB8081F-BF05-4791-8456-6556309FA38A}" type="presParOf" srcId="{7A42AD60-9D79-474F-8A4E-68C417581E57}" destId="{5C36FA82-5DD8-44F2-91CE-A68E5AC4D828}" srcOrd="2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292D4DB0-4B9C-474F-BB95-6E732D49E766}" type="doc">
      <dgm:prSet loTypeId="urn:microsoft.com/office/officeart/2005/8/layout/list1" loCatId="list" qsTypeId="urn:microsoft.com/office/officeart/2005/8/quickstyle/simple2" qsCatId="simple" csTypeId="urn:microsoft.com/office/officeart/2005/8/colors/colorful4" csCatId="colorful" phldr="1"/>
      <dgm:spPr/>
      <dgm:t>
        <a:bodyPr/>
        <a:lstStyle/>
        <a:p>
          <a:endParaRPr lang="en-US"/>
        </a:p>
      </dgm:t>
    </dgm:pt>
    <dgm:pt modelId="{FFA7A6E2-64DE-4FDD-8FFC-783B42F09EB6}">
      <dgm:prSet custT="1"/>
      <dgm:spPr/>
      <dgm:t>
        <a:bodyPr/>
        <a:lstStyle/>
        <a:p>
          <a:r>
            <a:rPr lang="en-US" sz="1800" dirty="0"/>
            <a:t>Using a web browser.</a:t>
          </a:r>
          <a:endParaRPr lang="de-DE" sz="1800" dirty="0"/>
        </a:p>
      </dgm:t>
    </dgm:pt>
    <dgm:pt modelId="{99BB4390-C9BB-4A97-999E-675E1BAA7EC8}" type="parTrans" cxnId="{E8F33342-F0C3-48BB-A588-32E01CCDE32C}">
      <dgm:prSet/>
      <dgm:spPr/>
      <dgm:t>
        <a:bodyPr/>
        <a:lstStyle/>
        <a:p>
          <a:endParaRPr lang="de-DE"/>
        </a:p>
      </dgm:t>
    </dgm:pt>
    <dgm:pt modelId="{B9946BA1-AEFA-4500-ADEA-A4E6AD5FCAF2}" type="sibTrans" cxnId="{E8F33342-F0C3-48BB-A588-32E01CCDE32C}">
      <dgm:prSet/>
      <dgm:spPr/>
      <dgm:t>
        <a:bodyPr/>
        <a:lstStyle/>
        <a:p>
          <a:endParaRPr lang="de-DE"/>
        </a:p>
      </dgm:t>
    </dgm:pt>
    <dgm:pt modelId="{EB257ED0-3850-402D-B893-65220F59625B}">
      <dgm:prSet custT="1"/>
      <dgm:spPr/>
      <dgm:t>
        <a:bodyPr/>
        <a:lstStyle/>
        <a:p>
          <a:r>
            <a:rPr lang="en-US" sz="1800" dirty="0">
              <a:hlinkClick xmlns:r="http://schemas.openxmlformats.org/officeDocument/2006/relationships" r:id="rId1"/>
            </a:rPr>
            <a:t>https://aka.ms/LearningCampus</a:t>
          </a:r>
          <a:endParaRPr lang="de-DE" sz="1800" dirty="0"/>
        </a:p>
      </dgm:t>
    </dgm:pt>
    <dgm:pt modelId="{5D0D8367-C66B-4099-A1A5-B22E18F36778}" type="parTrans" cxnId="{CF9C6FB4-9C5E-4E68-9898-764283326969}">
      <dgm:prSet/>
      <dgm:spPr/>
      <dgm:t>
        <a:bodyPr/>
        <a:lstStyle/>
        <a:p>
          <a:endParaRPr lang="de-DE"/>
        </a:p>
      </dgm:t>
    </dgm:pt>
    <dgm:pt modelId="{F7B098C7-B4D0-4240-AE82-06BC68CFC54F}" type="sibTrans" cxnId="{CF9C6FB4-9C5E-4E68-9898-764283326969}">
      <dgm:prSet/>
      <dgm:spPr/>
      <dgm:t>
        <a:bodyPr/>
        <a:lstStyle/>
        <a:p>
          <a:endParaRPr lang="de-DE"/>
        </a:p>
      </dgm:t>
    </dgm:pt>
    <dgm:pt modelId="{80A1065E-9E1B-4E90-86D7-2BA24CB5A83E}">
      <dgm:prSet custT="1"/>
      <dgm:spPr/>
      <dgm:t>
        <a:bodyPr/>
        <a:lstStyle/>
        <a:p>
          <a:r>
            <a:rPr lang="en-US" sz="1800" dirty="0"/>
            <a:t>Sign in with your Microsoft account not Corporate AD account</a:t>
          </a:r>
          <a:endParaRPr lang="de-DE" sz="1800" dirty="0"/>
        </a:p>
      </dgm:t>
    </dgm:pt>
    <dgm:pt modelId="{81B22114-F011-423E-85E4-A267D90AE017}" type="parTrans" cxnId="{63CFBC05-B68E-4074-B5F1-C1C53FB99F36}">
      <dgm:prSet/>
      <dgm:spPr/>
      <dgm:t>
        <a:bodyPr/>
        <a:lstStyle/>
        <a:p>
          <a:endParaRPr lang="de-DE"/>
        </a:p>
      </dgm:t>
    </dgm:pt>
    <dgm:pt modelId="{4B4191F3-EDE0-4AAC-9CF1-5B41BD5CE8E8}" type="sibTrans" cxnId="{63CFBC05-B68E-4074-B5F1-C1C53FB99F36}">
      <dgm:prSet/>
      <dgm:spPr/>
      <dgm:t>
        <a:bodyPr/>
        <a:lstStyle/>
        <a:p>
          <a:endParaRPr lang="de-DE"/>
        </a:p>
      </dgm:t>
    </dgm:pt>
    <dgm:pt modelId="{C665C6E4-3D06-4173-906E-72A52A4D3EE8}">
      <dgm:prSet custT="1"/>
      <dgm:spPr/>
      <dgm:t>
        <a:bodyPr/>
        <a:lstStyle/>
        <a:p>
          <a:r>
            <a:rPr lang="en-US" sz="1800" dirty="0"/>
            <a:t>Microsoft Account (Live ID)</a:t>
          </a:r>
          <a:endParaRPr lang="de-DE" sz="1800" dirty="0"/>
        </a:p>
      </dgm:t>
    </dgm:pt>
    <dgm:pt modelId="{E0BBAD2F-5E0A-40D5-A956-9C3F688B5E1B}" type="parTrans" cxnId="{16B8094A-813F-45CD-9B8B-A608A036C49A}">
      <dgm:prSet/>
      <dgm:spPr/>
      <dgm:t>
        <a:bodyPr/>
        <a:lstStyle/>
        <a:p>
          <a:endParaRPr lang="de-DE"/>
        </a:p>
      </dgm:t>
    </dgm:pt>
    <dgm:pt modelId="{27282B2A-5D15-4931-944F-04F90366BCEB}" type="sibTrans" cxnId="{16B8094A-813F-45CD-9B8B-A608A036C49A}">
      <dgm:prSet/>
      <dgm:spPr/>
      <dgm:t>
        <a:bodyPr/>
        <a:lstStyle/>
        <a:p>
          <a:endParaRPr lang="de-DE"/>
        </a:p>
      </dgm:t>
    </dgm:pt>
    <dgm:pt modelId="{A15F963C-B608-4A2A-A56C-A495246E64FD}">
      <dgm:prSet custT="1"/>
      <dgm:spPr/>
      <dgm:t>
        <a:bodyPr/>
        <a:lstStyle/>
        <a:p>
          <a:r>
            <a:rPr lang="en-US" sz="1800" dirty="0"/>
            <a:t>If you do not have one, then create it here: </a:t>
          </a:r>
          <a:r>
            <a:rPr lang="de-DE" sz="1800" dirty="0">
              <a:hlinkClick xmlns:r="http://schemas.openxmlformats.org/officeDocument/2006/relationships" r:id="rId2"/>
            </a:rPr>
            <a:t>http://live.com</a:t>
          </a:r>
          <a:endParaRPr lang="de-DE" sz="1800" dirty="0"/>
        </a:p>
      </dgm:t>
    </dgm:pt>
    <dgm:pt modelId="{613FDA8B-9EDA-4EDD-A826-D5F80A8225DF}" type="parTrans" cxnId="{8E51836C-4552-43FC-9BD9-3654DB8D94E3}">
      <dgm:prSet/>
      <dgm:spPr/>
      <dgm:t>
        <a:bodyPr/>
        <a:lstStyle/>
        <a:p>
          <a:endParaRPr lang="de-DE"/>
        </a:p>
      </dgm:t>
    </dgm:pt>
    <dgm:pt modelId="{D719E958-D3B8-41AD-91F5-222274ACA5CD}" type="sibTrans" cxnId="{8E51836C-4552-43FC-9BD9-3654DB8D94E3}">
      <dgm:prSet/>
      <dgm:spPr/>
      <dgm:t>
        <a:bodyPr/>
        <a:lstStyle/>
        <a:p>
          <a:endParaRPr lang="de-DE"/>
        </a:p>
      </dgm:t>
    </dgm:pt>
    <dgm:pt modelId="{538BFE29-0F37-4D61-AC8C-CA1036A0DFCE}">
      <dgm:prSet custT="1"/>
      <dgm:spPr>
        <a:solidFill>
          <a:schemeClr val="accent1">
            <a:lumMod val="50000"/>
          </a:schemeClr>
        </a:solidFill>
      </dgm:spPr>
      <dgm:t>
        <a:bodyPr/>
        <a:lstStyle/>
        <a:p>
          <a:r>
            <a:rPr lang="de-DE" sz="1800" dirty="0"/>
            <a:t>Training Key</a:t>
          </a:r>
        </a:p>
      </dgm:t>
    </dgm:pt>
    <dgm:pt modelId="{8FA40C7F-7549-4381-8C00-E23CFE53F3DA}" type="parTrans" cxnId="{8E7231C6-254D-4655-BF24-FB4DCB41402D}">
      <dgm:prSet/>
      <dgm:spPr/>
      <dgm:t>
        <a:bodyPr/>
        <a:lstStyle/>
        <a:p>
          <a:endParaRPr lang="de-DE"/>
        </a:p>
      </dgm:t>
    </dgm:pt>
    <dgm:pt modelId="{C5FC06FB-46A6-4D4C-BC66-09CC85A59E26}" type="sibTrans" cxnId="{8E7231C6-254D-4655-BF24-FB4DCB41402D}">
      <dgm:prSet/>
      <dgm:spPr/>
      <dgm:t>
        <a:bodyPr/>
        <a:lstStyle/>
        <a:p>
          <a:endParaRPr lang="de-DE"/>
        </a:p>
      </dgm:t>
    </dgm:pt>
    <dgm:pt modelId="{1BA0F9F1-2703-4AD1-9290-8BC8D8CB1ECC}">
      <dgm:prSet custT="1"/>
      <dgm:spPr/>
      <dgm:t>
        <a:bodyPr/>
        <a:lstStyle/>
        <a:p>
          <a:r>
            <a:rPr lang="en-US" sz="1800" dirty="0"/>
            <a:t>WorkshopPLUS -&gt;  My Training (Select at the top)</a:t>
          </a:r>
          <a:endParaRPr lang="de-DE" sz="1800" dirty="0"/>
        </a:p>
      </dgm:t>
    </dgm:pt>
    <dgm:pt modelId="{2C1674FB-A374-48D5-A59B-092F0160ED16}" type="parTrans" cxnId="{448B3186-B0E3-466F-B01A-772C22EE0F74}">
      <dgm:prSet/>
      <dgm:spPr/>
      <dgm:t>
        <a:bodyPr/>
        <a:lstStyle/>
        <a:p>
          <a:endParaRPr lang="de-DE"/>
        </a:p>
      </dgm:t>
    </dgm:pt>
    <dgm:pt modelId="{F7617740-168B-4CA7-9D1A-6A5085A9F288}" type="sibTrans" cxnId="{448B3186-B0E3-466F-B01A-772C22EE0F74}">
      <dgm:prSet/>
      <dgm:spPr/>
      <dgm:t>
        <a:bodyPr/>
        <a:lstStyle/>
        <a:p>
          <a:endParaRPr lang="de-DE"/>
        </a:p>
      </dgm:t>
    </dgm:pt>
    <dgm:pt modelId="{3107C018-7238-4F0D-A2BA-685FB2DBF8E2}">
      <dgm:prSet custT="1"/>
      <dgm:spPr/>
      <dgm:t>
        <a:bodyPr/>
        <a:lstStyle/>
        <a:p>
          <a:r>
            <a:rPr lang="de-DE" sz="1800" dirty="0"/>
            <a:t>Select Redeem Training Key</a:t>
          </a:r>
        </a:p>
      </dgm:t>
    </dgm:pt>
    <dgm:pt modelId="{D3D68EFF-19A7-4B68-8434-EFE73972F9F8}" type="parTrans" cxnId="{B181FF7F-786A-4262-A649-55EDCFCDB8B0}">
      <dgm:prSet/>
      <dgm:spPr/>
      <dgm:t>
        <a:bodyPr/>
        <a:lstStyle/>
        <a:p>
          <a:endParaRPr lang="de-DE"/>
        </a:p>
      </dgm:t>
    </dgm:pt>
    <dgm:pt modelId="{C0F29859-4675-4442-A58A-29CE94A957BC}" type="sibTrans" cxnId="{B181FF7F-786A-4262-A649-55EDCFCDB8B0}">
      <dgm:prSet/>
      <dgm:spPr/>
      <dgm:t>
        <a:bodyPr/>
        <a:lstStyle/>
        <a:p>
          <a:endParaRPr lang="de-DE"/>
        </a:p>
      </dgm:t>
    </dgm:pt>
    <dgm:pt modelId="{6377941F-A87A-4C24-9761-096616C6AE8D}">
      <dgm:prSet custT="1"/>
      <dgm:spPr/>
      <dgm:t>
        <a:bodyPr/>
        <a:lstStyle/>
        <a:p>
          <a:r>
            <a:rPr lang="de-DE" sz="1800" dirty="0"/>
            <a:t>Enter Training Key</a:t>
          </a:r>
        </a:p>
      </dgm:t>
    </dgm:pt>
    <dgm:pt modelId="{7326A61B-54B8-4719-9F4A-023D392AAF2E}" type="parTrans" cxnId="{7A95F927-C8C2-45F8-8D5C-06FF2CDE2012}">
      <dgm:prSet/>
      <dgm:spPr/>
      <dgm:t>
        <a:bodyPr/>
        <a:lstStyle/>
        <a:p>
          <a:endParaRPr lang="de-DE"/>
        </a:p>
      </dgm:t>
    </dgm:pt>
    <dgm:pt modelId="{216EFA83-AC14-448C-BD04-6519F6ABE714}" type="sibTrans" cxnId="{7A95F927-C8C2-45F8-8D5C-06FF2CDE2012}">
      <dgm:prSet/>
      <dgm:spPr/>
      <dgm:t>
        <a:bodyPr/>
        <a:lstStyle/>
        <a:p>
          <a:endParaRPr lang="de-DE"/>
        </a:p>
      </dgm:t>
    </dgm:pt>
    <dgm:pt modelId="{57D2A3F8-781D-46F3-93B5-3F9A943F0DDE}">
      <dgm:prSet custT="1"/>
      <dgm:spPr/>
      <dgm:t>
        <a:bodyPr/>
        <a:lstStyle/>
        <a:p>
          <a:r>
            <a:rPr lang="de-DE" sz="1800" dirty="0"/>
            <a:t>The training key is only need to perform the virtual labs.</a:t>
          </a:r>
        </a:p>
      </dgm:t>
    </dgm:pt>
    <dgm:pt modelId="{208C5B51-2F02-4198-8C06-B552386F10EC}" type="parTrans" cxnId="{0FE1E673-CE5C-4B86-A6B5-7466E0499C43}">
      <dgm:prSet/>
      <dgm:spPr/>
      <dgm:t>
        <a:bodyPr/>
        <a:lstStyle/>
        <a:p>
          <a:endParaRPr lang="en-US"/>
        </a:p>
      </dgm:t>
    </dgm:pt>
    <dgm:pt modelId="{0426B5AA-056B-4876-AC87-ADAC3B690354}" type="sibTrans" cxnId="{0FE1E673-CE5C-4B86-A6B5-7466E0499C43}">
      <dgm:prSet/>
      <dgm:spPr/>
      <dgm:t>
        <a:bodyPr/>
        <a:lstStyle/>
        <a:p>
          <a:endParaRPr lang="en-US"/>
        </a:p>
      </dgm:t>
    </dgm:pt>
    <dgm:pt modelId="{DE239944-F4CD-4866-90C6-1D8C1CB4FB49}">
      <dgm:prSet custT="1"/>
      <dgm:spPr/>
      <dgm:t>
        <a:bodyPr/>
        <a:lstStyle/>
        <a:p>
          <a:r>
            <a:rPr lang="de-DE" sz="1800" dirty="0"/>
            <a:t>The classroom will be setup through a Teams meeting</a:t>
          </a:r>
        </a:p>
      </dgm:t>
    </dgm:pt>
    <dgm:pt modelId="{28470E80-58A3-4BFB-8649-355318B3CE9D}" type="parTrans" cxnId="{FA51F8EF-0EA8-4EDE-BE13-439D59CCC3C2}">
      <dgm:prSet/>
      <dgm:spPr/>
      <dgm:t>
        <a:bodyPr/>
        <a:lstStyle/>
        <a:p>
          <a:endParaRPr lang="en-US"/>
        </a:p>
      </dgm:t>
    </dgm:pt>
    <dgm:pt modelId="{90E13C9D-83A3-4342-A89B-E45FD383F769}" type="sibTrans" cxnId="{FA51F8EF-0EA8-4EDE-BE13-439D59CCC3C2}">
      <dgm:prSet/>
      <dgm:spPr/>
      <dgm:t>
        <a:bodyPr/>
        <a:lstStyle/>
        <a:p>
          <a:endParaRPr lang="en-US"/>
        </a:p>
      </dgm:t>
    </dgm:pt>
    <dgm:pt modelId="{69345D48-A681-46F5-855E-DA88018B21CC}" type="pres">
      <dgm:prSet presAssocID="{292D4DB0-4B9C-474F-BB95-6E732D49E766}" presName="linear" presStyleCnt="0">
        <dgm:presLayoutVars>
          <dgm:dir/>
          <dgm:animLvl val="lvl"/>
          <dgm:resizeHandles val="exact"/>
        </dgm:presLayoutVars>
      </dgm:prSet>
      <dgm:spPr/>
    </dgm:pt>
    <dgm:pt modelId="{CE1DD01E-CBD2-4A46-B9DA-B35DEC130735}" type="pres">
      <dgm:prSet presAssocID="{57D2A3F8-781D-46F3-93B5-3F9A943F0DDE}" presName="parentLin" presStyleCnt="0"/>
      <dgm:spPr/>
    </dgm:pt>
    <dgm:pt modelId="{00E68E34-AC28-4C02-93D1-35D129981ADD}" type="pres">
      <dgm:prSet presAssocID="{57D2A3F8-781D-46F3-93B5-3F9A943F0DDE}" presName="parentLeftMargin" presStyleLbl="node1" presStyleIdx="0" presStyleCnt="4"/>
      <dgm:spPr/>
    </dgm:pt>
    <dgm:pt modelId="{132E74A8-7ACF-4CF4-B7FA-BB49A18243D6}" type="pres">
      <dgm:prSet presAssocID="{57D2A3F8-781D-46F3-93B5-3F9A943F0DDE}" presName="parentText" presStyleLbl="node1" presStyleIdx="0" presStyleCnt="4">
        <dgm:presLayoutVars>
          <dgm:chMax val="0"/>
          <dgm:bulletEnabled val="1"/>
        </dgm:presLayoutVars>
      </dgm:prSet>
      <dgm:spPr/>
    </dgm:pt>
    <dgm:pt modelId="{AE0D5C1F-77A8-4360-A133-034500450342}" type="pres">
      <dgm:prSet presAssocID="{57D2A3F8-781D-46F3-93B5-3F9A943F0DDE}" presName="negativeSpace" presStyleCnt="0"/>
      <dgm:spPr/>
    </dgm:pt>
    <dgm:pt modelId="{692B6EDB-C6F9-41E1-B03D-648E06A35A97}" type="pres">
      <dgm:prSet presAssocID="{57D2A3F8-781D-46F3-93B5-3F9A943F0DDE}" presName="childText" presStyleLbl="conFgAcc1" presStyleIdx="0" presStyleCnt="4">
        <dgm:presLayoutVars>
          <dgm:bulletEnabled val="1"/>
        </dgm:presLayoutVars>
      </dgm:prSet>
      <dgm:spPr/>
    </dgm:pt>
    <dgm:pt modelId="{A414F34E-3AA4-4329-BE9C-D6DE0B41CEC8}" type="pres">
      <dgm:prSet presAssocID="{0426B5AA-056B-4876-AC87-ADAC3B690354}" presName="spaceBetweenRectangles" presStyleCnt="0"/>
      <dgm:spPr/>
    </dgm:pt>
    <dgm:pt modelId="{B5AA03F1-F3FC-488B-918E-17A148484578}" type="pres">
      <dgm:prSet presAssocID="{FFA7A6E2-64DE-4FDD-8FFC-783B42F09EB6}" presName="parentLin" presStyleCnt="0"/>
      <dgm:spPr/>
    </dgm:pt>
    <dgm:pt modelId="{904CF3CE-087A-4C21-82AE-9B0E7CCA61B1}" type="pres">
      <dgm:prSet presAssocID="{FFA7A6E2-64DE-4FDD-8FFC-783B42F09EB6}" presName="parentLeftMargin" presStyleLbl="node1" presStyleIdx="0" presStyleCnt="4"/>
      <dgm:spPr/>
    </dgm:pt>
    <dgm:pt modelId="{67E684CD-56FC-4B3B-B6CE-057D27358856}" type="pres">
      <dgm:prSet presAssocID="{FFA7A6E2-64DE-4FDD-8FFC-783B42F09EB6}" presName="parentText" presStyleLbl="node1" presStyleIdx="1" presStyleCnt="4">
        <dgm:presLayoutVars>
          <dgm:chMax val="0"/>
          <dgm:bulletEnabled val="1"/>
        </dgm:presLayoutVars>
      </dgm:prSet>
      <dgm:spPr/>
    </dgm:pt>
    <dgm:pt modelId="{5B4C0433-6913-4F57-A80A-B9F6B6EEFC1A}" type="pres">
      <dgm:prSet presAssocID="{FFA7A6E2-64DE-4FDD-8FFC-783B42F09EB6}" presName="negativeSpace" presStyleCnt="0"/>
      <dgm:spPr/>
    </dgm:pt>
    <dgm:pt modelId="{D028D949-8AD3-4714-9B8B-50DEEB9D8C57}" type="pres">
      <dgm:prSet presAssocID="{FFA7A6E2-64DE-4FDD-8FFC-783B42F09EB6}" presName="childText" presStyleLbl="conFgAcc1" presStyleIdx="1" presStyleCnt="4">
        <dgm:presLayoutVars>
          <dgm:bulletEnabled val="1"/>
        </dgm:presLayoutVars>
      </dgm:prSet>
      <dgm:spPr/>
    </dgm:pt>
    <dgm:pt modelId="{F67AF8D2-5B39-435E-A53C-96BDCD41867B}" type="pres">
      <dgm:prSet presAssocID="{B9946BA1-AEFA-4500-ADEA-A4E6AD5FCAF2}" presName="spaceBetweenRectangles" presStyleCnt="0"/>
      <dgm:spPr/>
    </dgm:pt>
    <dgm:pt modelId="{25A527D6-E6D8-46B4-BDDD-B888B44CC0A2}" type="pres">
      <dgm:prSet presAssocID="{80A1065E-9E1B-4E90-86D7-2BA24CB5A83E}" presName="parentLin" presStyleCnt="0"/>
      <dgm:spPr/>
    </dgm:pt>
    <dgm:pt modelId="{83698774-5A86-47D7-B3D3-B6D51F635988}" type="pres">
      <dgm:prSet presAssocID="{80A1065E-9E1B-4E90-86D7-2BA24CB5A83E}" presName="parentLeftMargin" presStyleLbl="node1" presStyleIdx="1" presStyleCnt="4"/>
      <dgm:spPr/>
    </dgm:pt>
    <dgm:pt modelId="{98375FEB-012C-4598-928B-2E77583DA760}" type="pres">
      <dgm:prSet presAssocID="{80A1065E-9E1B-4E90-86D7-2BA24CB5A83E}" presName="parentText" presStyleLbl="node1" presStyleIdx="2" presStyleCnt="4">
        <dgm:presLayoutVars>
          <dgm:chMax val="0"/>
          <dgm:bulletEnabled val="1"/>
        </dgm:presLayoutVars>
      </dgm:prSet>
      <dgm:spPr/>
    </dgm:pt>
    <dgm:pt modelId="{CB92BE96-1FD7-4B7C-B8C9-C58588FA6854}" type="pres">
      <dgm:prSet presAssocID="{80A1065E-9E1B-4E90-86D7-2BA24CB5A83E}" presName="negativeSpace" presStyleCnt="0"/>
      <dgm:spPr/>
    </dgm:pt>
    <dgm:pt modelId="{9B678406-9F39-4991-89F4-2A45548A9AA6}" type="pres">
      <dgm:prSet presAssocID="{80A1065E-9E1B-4E90-86D7-2BA24CB5A83E}" presName="childText" presStyleLbl="conFgAcc1" presStyleIdx="2" presStyleCnt="4">
        <dgm:presLayoutVars>
          <dgm:bulletEnabled val="1"/>
        </dgm:presLayoutVars>
      </dgm:prSet>
      <dgm:spPr/>
    </dgm:pt>
    <dgm:pt modelId="{9EB9CAD8-E4C4-4496-AE90-22275A6C8087}" type="pres">
      <dgm:prSet presAssocID="{4B4191F3-EDE0-4AAC-9CF1-5B41BD5CE8E8}" presName="spaceBetweenRectangles" presStyleCnt="0"/>
      <dgm:spPr/>
    </dgm:pt>
    <dgm:pt modelId="{6FE74C74-C979-4323-9AFD-E7A2CD682080}" type="pres">
      <dgm:prSet presAssocID="{538BFE29-0F37-4D61-AC8C-CA1036A0DFCE}" presName="parentLin" presStyleCnt="0"/>
      <dgm:spPr/>
    </dgm:pt>
    <dgm:pt modelId="{B6FE194F-23F8-472A-86DA-205C264A8D7C}" type="pres">
      <dgm:prSet presAssocID="{538BFE29-0F37-4D61-AC8C-CA1036A0DFCE}" presName="parentLeftMargin" presStyleLbl="node1" presStyleIdx="2" presStyleCnt="4"/>
      <dgm:spPr/>
    </dgm:pt>
    <dgm:pt modelId="{3CBFEC53-318C-40A5-85BA-8989391591A7}" type="pres">
      <dgm:prSet presAssocID="{538BFE29-0F37-4D61-AC8C-CA1036A0DFCE}" presName="parentText" presStyleLbl="node1" presStyleIdx="3" presStyleCnt="4">
        <dgm:presLayoutVars>
          <dgm:chMax val="0"/>
          <dgm:bulletEnabled val="1"/>
        </dgm:presLayoutVars>
      </dgm:prSet>
      <dgm:spPr/>
    </dgm:pt>
    <dgm:pt modelId="{C871AF6C-225B-4A97-BA94-4B203DBE6AA3}" type="pres">
      <dgm:prSet presAssocID="{538BFE29-0F37-4D61-AC8C-CA1036A0DFCE}" presName="negativeSpace" presStyleCnt="0"/>
      <dgm:spPr/>
    </dgm:pt>
    <dgm:pt modelId="{A97C25CE-D475-4EF3-81B1-959DF49D5E41}" type="pres">
      <dgm:prSet presAssocID="{538BFE29-0F37-4D61-AC8C-CA1036A0DFCE}" presName="childText" presStyleLbl="conFgAcc1" presStyleIdx="3" presStyleCnt="4">
        <dgm:presLayoutVars>
          <dgm:bulletEnabled val="1"/>
        </dgm:presLayoutVars>
      </dgm:prSet>
      <dgm:spPr/>
    </dgm:pt>
  </dgm:ptLst>
  <dgm:cxnLst>
    <dgm:cxn modelId="{63CFBC05-B68E-4074-B5F1-C1C53FB99F36}" srcId="{292D4DB0-4B9C-474F-BB95-6E732D49E766}" destId="{80A1065E-9E1B-4E90-86D7-2BA24CB5A83E}" srcOrd="2" destOrd="0" parTransId="{81B22114-F011-423E-85E4-A267D90AE017}" sibTransId="{4B4191F3-EDE0-4AAC-9CF1-5B41BD5CE8E8}"/>
    <dgm:cxn modelId="{7EC2F40C-65B7-472E-B781-2B9DF34EFBC9}" type="presOf" srcId="{80A1065E-9E1B-4E90-86D7-2BA24CB5A83E}" destId="{83698774-5A86-47D7-B3D3-B6D51F635988}" srcOrd="0" destOrd="0" presId="urn:microsoft.com/office/officeart/2005/8/layout/list1"/>
    <dgm:cxn modelId="{1C9D3E10-44AF-4E77-A323-6426B817E899}" type="presOf" srcId="{EB257ED0-3850-402D-B893-65220F59625B}" destId="{D028D949-8AD3-4714-9B8B-50DEEB9D8C57}" srcOrd="0" destOrd="0" presId="urn:microsoft.com/office/officeart/2005/8/layout/list1"/>
    <dgm:cxn modelId="{7A95F927-C8C2-45F8-8D5C-06FF2CDE2012}" srcId="{538BFE29-0F37-4D61-AC8C-CA1036A0DFCE}" destId="{6377941F-A87A-4C24-9761-096616C6AE8D}" srcOrd="2" destOrd="0" parTransId="{7326A61B-54B8-4719-9F4A-023D392AAF2E}" sibTransId="{216EFA83-AC14-448C-BD04-6519F6ABE714}"/>
    <dgm:cxn modelId="{4C151C2D-6F77-47E0-8A2D-314D87ECD8EB}" type="presOf" srcId="{80A1065E-9E1B-4E90-86D7-2BA24CB5A83E}" destId="{98375FEB-012C-4598-928B-2E77583DA760}" srcOrd="1" destOrd="0" presId="urn:microsoft.com/office/officeart/2005/8/layout/list1"/>
    <dgm:cxn modelId="{3F062336-6545-411C-875C-39A31A3BA0D0}" type="presOf" srcId="{FFA7A6E2-64DE-4FDD-8FFC-783B42F09EB6}" destId="{67E684CD-56FC-4B3B-B6CE-057D27358856}" srcOrd="1" destOrd="0" presId="urn:microsoft.com/office/officeart/2005/8/layout/list1"/>
    <dgm:cxn modelId="{C784FB3A-F1D0-493A-BAB7-3255BE7EFCED}" type="presOf" srcId="{57D2A3F8-781D-46F3-93B5-3F9A943F0DDE}" destId="{132E74A8-7ACF-4CF4-B7FA-BB49A18243D6}" srcOrd="1" destOrd="0" presId="urn:microsoft.com/office/officeart/2005/8/layout/list1"/>
    <dgm:cxn modelId="{E8F33342-F0C3-48BB-A588-32E01CCDE32C}" srcId="{292D4DB0-4B9C-474F-BB95-6E732D49E766}" destId="{FFA7A6E2-64DE-4FDD-8FFC-783B42F09EB6}" srcOrd="1" destOrd="0" parTransId="{99BB4390-C9BB-4A97-999E-675E1BAA7EC8}" sibTransId="{B9946BA1-AEFA-4500-ADEA-A4E6AD5FCAF2}"/>
    <dgm:cxn modelId="{F3D69564-4795-4AB0-B231-2076FD701A54}" type="presOf" srcId="{A15F963C-B608-4A2A-A56C-A495246E64FD}" destId="{9B678406-9F39-4991-89F4-2A45548A9AA6}" srcOrd="0" destOrd="1" presId="urn:microsoft.com/office/officeart/2005/8/layout/list1"/>
    <dgm:cxn modelId="{63E96266-07E1-40E3-9946-FCE2839D215E}" type="presOf" srcId="{57D2A3F8-781D-46F3-93B5-3F9A943F0DDE}" destId="{00E68E34-AC28-4C02-93D1-35D129981ADD}" srcOrd="0" destOrd="0" presId="urn:microsoft.com/office/officeart/2005/8/layout/list1"/>
    <dgm:cxn modelId="{16B8094A-813F-45CD-9B8B-A608A036C49A}" srcId="{80A1065E-9E1B-4E90-86D7-2BA24CB5A83E}" destId="{C665C6E4-3D06-4173-906E-72A52A4D3EE8}" srcOrd="0" destOrd="0" parTransId="{E0BBAD2F-5E0A-40D5-A956-9C3F688B5E1B}" sibTransId="{27282B2A-5D15-4931-944F-04F90366BCEB}"/>
    <dgm:cxn modelId="{8E51836C-4552-43FC-9BD9-3654DB8D94E3}" srcId="{80A1065E-9E1B-4E90-86D7-2BA24CB5A83E}" destId="{A15F963C-B608-4A2A-A56C-A495246E64FD}" srcOrd="1" destOrd="0" parTransId="{613FDA8B-9EDA-4EDD-A826-D5F80A8225DF}" sibTransId="{D719E958-D3B8-41AD-91F5-222274ACA5CD}"/>
    <dgm:cxn modelId="{D622744D-F242-41F5-848A-CDAA5D0DAD43}" type="presOf" srcId="{538BFE29-0F37-4D61-AC8C-CA1036A0DFCE}" destId="{3CBFEC53-318C-40A5-85BA-8989391591A7}" srcOrd="1" destOrd="0" presId="urn:microsoft.com/office/officeart/2005/8/layout/list1"/>
    <dgm:cxn modelId="{0FE1E673-CE5C-4B86-A6B5-7466E0499C43}" srcId="{292D4DB0-4B9C-474F-BB95-6E732D49E766}" destId="{57D2A3F8-781D-46F3-93B5-3F9A943F0DDE}" srcOrd="0" destOrd="0" parTransId="{208C5B51-2F02-4198-8C06-B552386F10EC}" sibTransId="{0426B5AA-056B-4876-AC87-ADAC3B690354}"/>
    <dgm:cxn modelId="{B181FF7F-786A-4262-A649-55EDCFCDB8B0}" srcId="{538BFE29-0F37-4D61-AC8C-CA1036A0DFCE}" destId="{3107C018-7238-4F0D-A2BA-685FB2DBF8E2}" srcOrd="1" destOrd="0" parTransId="{D3D68EFF-19A7-4B68-8434-EFE73972F9F8}" sibTransId="{C0F29859-4675-4442-A58A-29CE94A957BC}"/>
    <dgm:cxn modelId="{448B3186-B0E3-466F-B01A-772C22EE0F74}" srcId="{538BFE29-0F37-4D61-AC8C-CA1036A0DFCE}" destId="{1BA0F9F1-2703-4AD1-9290-8BC8D8CB1ECC}" srcOrd="0" destOrd="0" parTransId="{2C1674FB-A374-48D5-A59B-092F0160ED16}" sibTransId="{F7617740-168B-4CA7-9D1A-6A5085A9F288}"/>
    <dgm:cxn modelId="{AA211095-1100-4CB6-89E1-90EA1ED3FF4B}" type="presOf" srcId="{6377941F-A87A-4C24-9761-096616C6AE8D}" destId="{A97C25CE-D475-4EF3-81B1-959DF49D5E41}" srcOrd="0" destOrd="2" presId="urn:microsoft.com/office/officeart/2005/8/layout/list1"/>
    <dgm:cxn modelId="{DB3382A4-6C70-4EC0-9F0C-C82D59C4D6E6}" type="presOf" srcId="{C665C6E4-3D06-4173-906E-72A52A4D3EE8}" destId="{9B678406-9F39-4991-89F4-2A45548A9AA6}" srcOrd="0" destOrd="0" presId="urn:microsoft.com/office/officeart/2005/8/layout/list1"/>
    <dgm:cxn modelId="{0E92B4AB-8BC3-48E1-B1E8-B96CD5D77883}" type="presOf" srcId="{538BFE29-0F37-4D61-AC8C-CA1036A0DFCE}" destId="{B6FE194F-23F8-472A-86DA-205C264A8D7C}" srcOrd="0" destOrd="0" presId="urn:microsoft.com/office/officeart/2005/8/layout/list1"/>
    <dgm:cxn modelId="{CF9C6FB4-9C5E-4E68-9898-764283326969}" srcId="{FFA7A6E2-64DE-4FDD-8FFC-783B42F09EB6}" destId="{EB257ED0-3850-402D-B893-65220F59625B}" srcOrd="0" destOrd="0" parTransId="{5D0D8367-C66B-4099-A1A5-B22E18F36778}" sibTransId="{F7B098C7-B4D0-4240-AE82-06BC68CFC54F}"/>
    <dgm:cxn modelId="{2CACAFBB-62D6-42E2-9E75-5A5B71D934C8}" type="presOf" srcId="{1BA0F9F1-2703-4AD1-9290-8BC8D8CB1ECC}" destId="{A97C25CE-D475-4EF3-81B1-959DF49D5E41}" srcOrd="0" destOrd="0" presId="urn:microsoft.com/office/officeart/2005/8/layout/list1"/>
    <dgm:cxn modelId="{94C36DBD-2A5E-4B59-B8CA-D39C2E23EB56}" type="presOf" srcId="{292D4DB0-4B9C-474F-BB95-6E732D49E766}" destId="{69345D48-A681-46F5-855E-DA88018B21CC}" srcOrd="0" destOrd="0" presId="urn:microsoft.com/office/officeart/2005/8/layout/list1"/>
    <dgm:cxn modelId="{C01626C5-F04D-40DF-B4B0-22D29F888EBE}" type="presOf" srcId="{FFA7A6E2-64DE-4FDD-8FFC-783B42F09EB6}" destId="{904CF3CE-087A-4C21-82AE-9B0E7CCA61B1}" srcOrd="0" destOrd="0" presId="urn:microsoft.com/office/officeart/2005/8/layout/list1"/>
    <dgm:cxn modelId="{8E7231C6-254D-4655-BF24-FB4DCB41402D}" srcId="{292D4DB0-4B9C-474F-BB95-6E732D49E766}" destId="{538BFE29-0F37-4D61-AC8C-CA1036A0DFCE}" srcOrd="3" destOrd="0" parTransId="{8FA40C7F-7549-4381-8C00-E23CFE53F3DA}" sibTransId="{C5FC06FB-46A6-4D4C-BC66-09CC85A59E26}"/>
    <dgm:cxn modelId="{B8A2C5CB-53B5-46E0-9D8F-701F6D1C3F9F}" type="presOf" srcId="{3107C018-7238-4F0D-A2BA-685FB2DBF8E2}" destId="{A97C25CE-D475-4EF3-81B1-959DF49D5E41}" srcOrd="0" destOrd="1" presId="urn:microsoft.com/office/officeart/2005/8/layout/list1"/>
    <dgm:cxn modelId="{81CB37DD-E82D-4E77-BBD4-244640CF02E4}" type="presOf" srcId="{DE239944-F4CD-4866-90C6-1D8C1CB4FB49}" destId="{692B6EDB-C6F9-41E1-B03D-648E06A35A97}" srcOrd="0" destOrd="0" presId="urn:microsoft.com/office/officeart/2005/8/layout/list1"/>
    <dgm:cxn modelId="{FA51F8EF-0EA8-4EDE-BE13-439D59CCC3C2}" srcId="{57D2A3F8-781D-46F3-93B5-3F9A943F0DDE}" destId="{DE239944-F4CD-4866-90C6-1D8C1CB4FB49}" srcOrd="0" destOrd="0" parTransId="{28470E80-58A3-4BFB-8649-355318B3CE9D}" sibTransId="{90E13C9D-83A3-4342-A89B-E45FD383F769}"/>
    <dgm:cxn modelId="{F220520F-EA2A-444B-8FF5-F31D2E932F45}" type="presParOf" srcId="{69345D48-A681-46F5-855E-DA88018B21CC}" destId="{CE1DD01E-CBD2-4A46-B9DA-B35DEC130735}" srcOrd="0" destOrd="0" presId="urn:microsoft.com/office/officeart/2005/8/layout/list1"/>
    <dgm:cxn modelId="{56A64F0B-180F-46B7-98B4-10B2B50688F1}" type="presParOf" srcId="{CE1DD01E-CBD2-4A46-B9DA-B35DEC130735}" destId="{00E68E34-AC28-4C02-93D1-35D129981ADD}" srcOrd="0" destOrd="0" presId="urn:microsoft.com/office/officeart/2005/8/layout/list1"/>
    <dgm:cxn modelId="{8A275B85-6C65-423F-A6D0-CDD8FAF3DC4F}" type="presParOf" srcId="{CE1DD01E-CBD2-4A46-B9DA-B35DEC130735}" destId="{132E74A8-7ACF-4CF4-B7FA-BB49A18243D6}" srcOrd="1" destOrd="0" presId="urn:microsoft.com/office/officeart/2005/8/layout/list1"/>
    <dgm:cxn modelId="{F0765AB7-CBFA-4610-9CA8-1D8A08473FD2}" type="presParOf" srcId="{69345D48-A681-46F5-855E-DA88018B21CC}" destId="{AE0D5C1F-77A8-4360-A133-034500450342}" srcOrd="1" destOrd="0" presId="urn:microsoft.com/office/officeart/2005/8/layout/list1"/>
    <dgm:cxn modelId="{6C22D097-560A-4AC2-A9AE-ADB276E64827}" type="presParOf" srcId="{69345D48-A681-46F5-855E-DA88018B21CC}" destId="{692B6EDB-C6F9-41E1-B03D-648E06A35A97}" srcOrd="2" destOrd="0" presId="urn:microsoft.com/office/officeart/2005/8/layout/list1"/>
    <dgm:cxn modelId="{6A4D5EA9-F5A7-4B7B-9652-6248A9BD9F38}" type="presParOf" srcId="{69345D48-A681-46F5-855E-DA88018B21CC}" destId="{A414F34E-3AA4-4329-BE9C-D6DE0B41CEC8}" srcOrd="3" destOrd="0" presId="urn:microsoft.com/office/officeart/2005/8/layout/list1"/>
    <dgm:cxn modelId="{9D156A94-BDF6-4D31-AE9C-04417AE9A6D3}" type="presParOf" srcId="{69345D48-A681-46F5-855E-DA88018B21CC}" destId="{B5AA03F1-F3FC-488B-918E-17A148484578}" srcOrd="4" destOrd="0" presId="urn:microsoft.com/office/officeart/2005/8/layout/list1"/>
    <dgm:cxn modelId="{D84681DA-3327-4A5F-9636-BC9B6718E7D6}" type="presParOf" srcId="{B5AA03F1-F3FC-488B-918E-17A148484578}" destId="{904CF3CE-087A-4C21-82AE-9B0E7CCA61B1}" srcOrd="0" destOrd="0" presId="urn:microsoft.com/office/officeart/2005/8/layout/list1"/>
    <dgm:cxn modelId="{73281E47-4598-4B4B-809C-08C94057F392}" type="presParOf" srcId="{B5AA03F1-F3FC-488B-918E-17A148484578}" destId="{67E684CD-56FC-4B3B-B6CE-057D27358856}" srcOrd="1" destOrd="0" presId="urn:microsoft.com/office/officeart/2005/8/layout/list1"/>
    <dgm:cxn modelId="{6FBD31B0-554A-4D53-9089-87803483FC42}" type="presParOf" srcId="{69345D48-A681-46F5-855E-DA88018B21CC}" destId="{5B4C0433-6913-4F57-A80A-B9F6B6EEFC1A}" srcOrd="5" destOrd="0" presId="urn:microsoft.com/office/officeart/2005/8/layout/list1"/>
    <dgm:cxn modelId="{AB2CDFAC-1DBD-4584-A59A-BF6CC9F02275}" type="presParOf" srcId="{69345D48-A681-46F5-855E-DA88018B21CC}" destId="{D028D949-8AD3-4714-9B8B-50DEEB9D8C57}" srcOrd="6" destOrd="0" presId="urn:microsoft.com/office/officeart/2005/8/layout/list1"/>
    <dgm:cxn modelId="{5AE1607F-BADF-43F2-B839-842560C9AEC0}" type="presParOf" srcId="{69345D48-A681-46F5-855E-DA88018B21CC}" destId="{F67AF8D2-5B39-435E-A53C-96BDCD41867B}" srcOrd="7" destOrd="0" presId="urn:microsoft.com/office/officeart/2005/8/layout/list1"/>
    <dgm:cxn modelId="{E4B2897D-FF0C-4C4C-B66A-FE1AE839AB5D}" type="presParOf" srcId="{69345D48-A681-46F5-855E-DA88018B21CC}" destId="{25A527D6-E6D8-46B4-BDDD-B888B44CC0A2}" srcOrd="8" destOrd="0" presId="urn:microsoft.com/office/officeart/2005/8/layout/list1"/>
    <dgm:cxn modelId="{76F79F88-A6F1-45A5-89D2-9F40157A13FE}" type="presParOf" srcId="{25A527D6-E6D8-46B4-BDDD-B888B44CC0A2}" destId="{83698774-5A86-47D7-B3D3-B6D51F635988}" srcOrd="0" destOrd="0" presId="urn:microsoft.com/office/officeart/2005/8/layout/list1"/>
    <dgm:cxn modelId="{836ED0E8-6248-48ED-8300-D644F126551F}" type="presParOf" srcId="{25A527D6-E6D8-46B4-BDDD-B888B44CC0A2}" destId="{98375FEB-012C-4598-928B-2E77583DA760}" srcOrd="1" destOrd="0" presId="urn:microsoft.com/office/officeart/2005/8/layout/list1"/>
    <dgm:cxn modelId="{96339CDD-BB71-401F-825B-16BD5ECC6317}" type="presParOf" srcId="{69345D48-A681-46F5-855E-DA88018B21CC}" destId="{CB92BE96-1FD7-4B7C-B8C9-C58588FA6854}" srcOrd="9" destOrd="0" presId="urn:microsoft.com/office/officeart/2005/8/layout/list1"/>
    <dgm:cxn modelId="{8C41C772-4D88-4F7B-BC43-ACD347B6B9E0}" type="presParOf" srcId="{69345D48-A681-46F5-855E-DA88018B21CC}" destId="{9B678406-9F39-4991-89F4-2A45548A9AA6}" srcOrd="10" destOrd="0" presId="urn:microsoft.com/office/officeart/2005/8/layout/list1"/>
    <dgm:cxn modelId="{5B88A0CD-F8A4-440B-87AC-038CF1F497BB}" type="presParOf" srcId="{69345D48-A681-46F5-855E-DA88018B21CC}" destId="{9EB9CAD8-E4C4-4496-AE90-22275A6C8087}" srcOrd="11" destOrd="0" presId="urn:microsoft.com/office/officeart/2005/8/layout/list1"/>
    <dgm:cxn modelId="{36244B57-E7AA-49AC-9148-504ABAA2F511}" type="presParOf" srcId="{69345D48-A681-46F5-855E-DA88018B21CC}" destId="{6FE74C74-C979-4323-9AFD-E7A2CD682080}" srcOrd="12" destOrd="0" presId="urn:microsoft.com/office/officeart/2005/8/layout/list1"/>
    <dgm:cxn modelId="{DACB8EBB-E4B2-41C2-B9D8-E234B7FD2A5A}" type="presParOf" srcId="{6FE74C74-C979-4323-9AFD-E7A2CD682080}" destId="{B6FE194F-23F8-472A-86DA-205C264A8D7C}" srcOrd="0" destOrd="0" presId="urn:microsoft.com/office/officeart/2005/8/layout/list1"/>
    <dgm:cxn modelId="{CBF8933D-8DA0-48BA-AC87-F7E5116997AB}" type="presParOf" srcId="{6FE74C74-C979-4323-9AFD-E7A2CD682080}" destId="{3CBFEC53-318C-40A5-85BA-8989391591A7}" srcOrd="1" destOrd="0" presId="urn:microsoft.com/office/officeart/2005/8/layout/list1"/>
    <dgm:cxn modelId="{2692D2BD-95A6-4F44-8956-3BF1F36C18A1}" type="presParOf" srcId="{69345D48-A681-46F5-855E-DA88018B21CC}" destId="{C871AF6C-225B-4A97-BA94-4B203DBE6AA3}" srcOrd="13" destOrd="0" presId="urn:microsoft.com/office/officeart/2005/8/layout/list1"/>
    <dgm:cxn modelId="{4C2EEEBE-1455-4B56-A1BD-345DAAFB6F37}" type="presParOf" srcId="{69345D48-A681-46F5-855E-DA88018B21CC}" destId="{A97C25CE-D475-4EF3-81B1-959DF49D5E41}" srcOrd="14"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A7EAFA-5AF1-42E8-A649-836B08C7C4E2}">
      <dsp:nvSpPr>
        <dsp:cNvPr id="0" name=""/>
        <dsp:cNvSpPr/>
      </dsp:nvSpPr>
      <dsp:spPr>
        <a:xfrm>
          <a:off x="3187" y="766027"/>
          <a:ext cx="2528918" cy="1517351"/>
        </a:xfrm>
        <a:prstGeom prst="rect">
          <a:avLst/>
        </a:prstGeom>
        <a:solidFill>
          <a:schemeClr val="accent2">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kern="1200" baseline="0"/>
            <a:t>Class hours</a:t>
          </a:r>
          <a:endParaRPr lang="en-US" sz="3700" kern="1200"/>
        </a:p>
      </dsp:txBody>
      <dsp:txXfrm>
        <a:off x="3187" y="766027"/>
        <a:ext cx="2528918" cy="1517351"/>
      </dsp:txXfrm>
    </dsp:sp>
    <dsp:sp modelId="{389EB800-A41C-4EC7-A0BA-A755ADDF2ABD}">
      <dsp:nvSpPr>
        <dsp:cNvPr id="0" name=""/>
        <dsp:cNvSpPr/>
      </dsp:nvSpPr>
      <dsp:spPr>
        <a:xfrm>
          <a:off x="2784998" y="766027"/>
          <a:ext cx="2528918" cy="1517351"/>
        </a:xfrm>
        <a:prstGeom prst="rect">
          <a:avLst/>
        </a:prstGeom>
        <a:solidFill>
          <a:schemeClr val="accent2">
            <a:shade val="50000"/>
            <a:hueOff val="102110"/>
            <a:satOff val="-10530"/>
            <a:lumOff val="152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kern="1200" baseline="0"/>
            <a:t>Building hours</a:t>
          </a:r>
          <a:endParaRPr lang="en-US" sz="3700" kern="1200"/>
        </a:p>
      </dsp:txBody>
      <dsp:txXfrm>
        <a:off x="2784998" y="766027"/>
        <a:ext cx="2528918" cy="1517351"/>
      </dsp:txXfrm>
    </dsp:sp>
    <dsp:sp modelId="{A4461675-3012-46F9-8029-465BF7052ABC}">
      <dsp:nvSpPr>
        <dsp:cNvPr id="0" name=""/>
        <dsp:cNvSpPr/>
      </dsp:nvSpPr>
      <dsp:spPr>
        <a:xfrm>
          <a:off x="5566808" y="766027"/>
          <a:ext cx="2528918" cy="1517351"/>
        </a:xfrm>
        <a:prstGeom prst="rect">
          <a:avLst/>
        </a:prstGeom>
        <a:solidFill>
          <a:schemeClr val="accent2">
            <a:shade val="50000"/>
            <a:hueOff val="204220"/>
            <a:satOff val="-21060"/>
            <a:lumOff val="3039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kern="1200" baseline="0"/>
            <a:t>Parking</a:t>
          </a:r>
          <a:endParaRPr lang="en-US" sz="3700" kern="1200"/>
        </a:p>
      </dsp:txBody>
      <dsp:txXfrm>
        <a:off x="5566808" y="766027"/>
        <a:ext cx="2528918" cy="1517351"/>
      </dsp:txXfrm>
    </dsp:sp>
    <dsp:sp modelId="{4E4DA351-D9A5-484A-AC28-84996561EC23}">
      <dsp:nvSpPr>
        <dsp:cNvPr id="0" name=""/>
        <dsp:cNvSpPr/>
      </dsp:nvSpPr>
      <dsp:spPr>
        <a:xfrm>
          <a:off x="8348619" y="766027"/>
          <a:ext cx="2528918" cy="1517351"/>
        </a:xfrm>
        <a:prstGeom prst="rect">
          <a:avLst/>
        </a:prstGeom>
        <a:solidFill>
          <a:schemeClr val="accent2">
            <a:shade val="50000"/>
            <a:hueOff val="306330"/>
            <a:satOff val="-31590"/>
            <a:lumOff val="4559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kern="1200" baseline="0"/>
            <a:t>Restrooms</a:t>
          </a:r>
          <a:endParaRPr lang="en-US" sz="3700" kern="1200"/>
        </a:p>
      </dsp:txBody>
      <dsp:txXfrm>
        <a:off x="8348619" y="766027"/>
        <a:ext cx="2528918" cy="1517351"/>
      </dsp:txXfrm>
    </dsp:sp>
    <dsp:sp modelId="{FEAA837C-4AE1-4180-9BB1-DE454FCCF01F}">
      <dsp:nvSpPr>
        <dsp:cNvPr id="0" name=""/>
        <dsp:cNvSpPr/>
      </dsp:nvSpPr>
      <dsp:spPr>
        <a:xfrm>
          <a:off x="3187" y="2536270"/>
          <a:ext cx="2528918" cy="1517351"/>
        </a:xfrm>
        <a:prstGeom prst="rect">
          <a:avLst/>
        </a:prstGeom>
        <a:solidFill>
          <a:schemeClr val="accent2">
            <a:shade val="50000"/>
            <a:hueOff val="408441"/>
            <a:satOff val="-42120"/>
            <a:lumOff val="6079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kern="1200" baseline="0"/>
            <a:t>Meals</a:t>
          </a:r>
          <a:endParaRPr lang="en-US" sz="3700" kern="1200"/>
        </a:p>
      </dsp:txBody>
      <dsp:txXfrm>
        <a:off x="3187" y="2536270"/>
        <a:ext cx="2528918" cy="1517351"/>
      </dsp:txXfrm>
    </dsp:sp>
    <dsp:sp modelId="{87E0FF2A-1F85-4B23-88A4-9026528BB742}">
      <dsp:nvSpPr>
        <dsp:cNvPr id="0" name=""/>
        <dsp:cNvSpPr/>
      </dsp:nvSpPr>
      <dsp:spPr>
        <a:xfrm>
          <a:off x="2784998" y="2536270"/>
          <a:ext cx="2528918" cy="1517351"/>
        </a:xfrm>
        <a:prstGeom prst="rect">
          <a:avLst/>
        </a:prstGeom>
        <a:solidFill>
          <a:schemeClr val="accent2">
            <a:shade val="50000"/>
            <a:hueOff val="306330"/>
            <a:satOff val="-31590"/>
            <a:lumOff val="4559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kern="1200" baseline="0"/>
            <a:t>Phones</a:t>
          </a:r>
          <a:endParaRPr lang="en-US" sz="3700" kern="1200"/>
        </a:p>
      </dsp:txBody>
      <dsp:txXfrm>
        <a:off x="2784998" y="2536270"/>
        <a:ext cx="2528918" cy="1517351"/>
      </dsp:txXfrm>
    </dsp:sp>
    <dsp:sp modelId="{CF4F8B14-113D-453D-A0DE-51A59CB22202}">
      <dsp:nvSpPr>
        <dsp:cNvPr id="0" name=""/>
        <dsp:cNvSpPr/>
      </dsp:nvSpPr>
      <dsp:spPr>
        <a:xfrm>
          <a:off x="5566808" y="2536270"/>
          <a:ext cx="2528918" cy="1517351"/>
        </a:xfrm>
        <a:prstGeom prst="rect">
          <a:avLst/>
        </a:prstGeom>
        <a:solidFill>
          <a:schemeClr val="accent2">
            <a:shade val="50000"/>
            <a:hueOff val="204220"/>
            <a:satOff val="-21060"/>
            <a:lumOff val="3039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kern="1200" baseline="0"/>
            <a:t>Messages</a:t>
          </a:r>
          <a:endParaRPr lang="en-US" sz="3700" kern="1200"/>
        </a:p>
      </dsp:txBody>
      <dsp:txXfrm>
        <a:off x="5566808" y="2536270"/>
        <a:ext cx="2528918" cy="1517351"/>
      </dsp:txXfrm>
    </dsp:sp>
    <dsp:sp modelId="{710F755A-24E0-448E-B737-F053D45E59CC}">
      <dsp:nvSpPr>
        <dsp:cNvPr id="0" name=""/>
        <dsp:cNvSpPr/>
      </dsp:nvSpPr>
      <dsp:spPr>
        <a:xfrm>
          <a:off x="8348619" y="2536270"/>
          <a:ext cx="2528918" cy="1517351"/>
        </a:xfrm>
        <a:prstGeom prst="rect">
          <a:avLst/>
        </a:prstGeom>
        <a:solidFill>
          <a:schemeClr val="accent2">
            <a:shade val="50000"/>
            <a:hueOff val="102110"/>
            <a:satOff val="-10530"/>
            <a:lumOff val="152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kern="1200" baseline="0"/>
            <a:t>Recycling</a:t>
          </a:r>
          <a:endParaRPr lang="en-US" sz="3700" kern="1200"/>
        </a:p>
      </dsp:txBody>
      <dsp:txXfrm>
        <a:off x="8348619" y="2536270"/>
        <a:ext cx="2528918" cy="151735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00E67C-3346-4C78-AD3B-8A66CBD2CD4B}">
      <dsp:nvSpPr>
        <dsp:cNvPr id="0" name=""/>
        <dsp:cNvSpPr/>
      </dsp:nvSpPr>
      <dsp:spPr>
        <a:xfrm>
          <a:off x="0" y="317024"/>
          <a:ext cx="3263655" cy="1958193"/>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t>Introduction to Azure SQL Database</a:t>
          </a:r>
        </a:p>
      </dsp:txBody>
      <dsp:txXfrm>
        <a:off x="0" y="317024"/>
        <a:ext cx="3263655" cy="1958193"/>
      </dsp:txXfrm>
    </dsp:sp>
    <dsp:sp modelId="{1EE9B282-75D8-4351-B82F-267EDC103FDB}">
      <dsp:nvSpPr>
        <dsp:cNvPr id="0" name=""/>
        <dsp:cNvSpPr/>
      </dsp:nvSpPr>
      <dsp:spPr>
        <a:xfrm>
          <a:off x="3590020" y="317024"/>
          <a:ext cx="3263655" cy="1958193"/>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t>Azure SQL Database Administration</a:t>
          </a:r>
        </a:p>
      </dsp:txBody>
      <dsp:txXfrm>
        <a:off x="3590020" y="317024"/>
        <a:ext cx="3263655" cy="1958193"/>
      </dsp:txXfrm>
    </dsp:sp>
    <dsp:sp modelId="{25292D28-4D15-4A62-A656-F607A7C483FF}">
      <dsp:nvSpPr>
        <dsp:cNvPr id="0" name=""/>
        <dsp:cNvSpPr/>
      </dsp:nvSpPr>
      <dsp:spPr>
        <a:xfrm>
          <a:off x="7180041" y="317024"/>
          <a:ext cx="3263655" cy="1958193"/>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t>Azure SQL Database Business Continuity</a:t>
          </a:r>
        </a:p>
      </dsp:txBody>
      <dsp:txXfrm>
        <a:off x="7180041" y="317024"/>
        <a:ext cx="3263655" cy="1958193"/>
      </dsp:txXfrm>
    </dsp:sp>
    <dsp:sp modelId="{E566B38C-6433-45B1-BF27-32D33D747B9D}">
      <dsp:nvSpPr>
        <dsp:cNvPr id="0" name=""/>
        <dsp:cNvSpPr/>
      </dsp:nvSpPr>
      <dsp:spPr>
        <a:xfrm>
          <a:off x="0" y="2601583"/>
          <a:ext cx="3263655" cy="1958193"/>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t>Manage Security for Azure SQL Database</a:t>
          </a:r>
        </a:p>
      </dsp:txBody>
      <dsp:txXfrm>
        <a:off x="0" y="2601583"/>
        <a:ext cx="3263655" cy="1958193"/>
      </dsp:txXfrm>
    </dsp:sp>
    <dsp:sp modelId="{F79C6BA9-156D-4C13-8F74-AC388DE7AF53}">
      <dsp:nvSpPr>
        <dsp:cNvPr id="0" name=""/>
        <dsp:cNvSpPr/>
      </dsp:nvSpPr>
      <dsp:spPr>
        <a:xfrm>
          <a:off x="3590020" y="2601583"/>
          <a:ext cx="3263655" cy="1958193"/>
        </a:xfrm>
        <a:prstGeom prst="rect">
          <a:avLst/>
        </a:prstGeom>
        <a:solidFill>
          <a:schemeClr val="hlink"/>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t>Monitoring and Tuning Azure SQL Database</a:t>
          </a:r>
        </a:p>
      </dsp:txBody>
      <dsp:txXfrm>
        <a:off x="3590020" y="2601583"/>
        <a:ext cx="3263655" cy="1958193"/>
      </dsp:txXfrm>
    </dsp:sp>
    <dsp:sp modelId="{3779C66D-DC26-4CA6-BE0E-5FC5EE6ECD84}">
      <dsp:nvSpPr>
        <dsp:cNvPr id="0" name=""/>
        <dsp:cNvSpPr/>
      </dsp:nvSpPr>
      <dsp:spPr>
        <a:xfrm>
          <a:off x="7180041" y="2601583"/>
          <a:ext cx="3263655" cy="1958193"/>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t>Azure SQL Database Migration &amp; Sync Data</a:t>
          </a:r>
        </a:p>
      </dsp:txBody>
      <dsp:txXfrm>
        <a:off x="7180041" y="2601583"/>
        <a:ext cx="3263655" cy="195819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B0DB31-4ED1-4C3F-B655-2557DD74A518}">
      <dsp:nvSpPr>
        <dsp:cNvPr id="0" name=""/>
        <dsp:cNvSpPr/>
      </dsp:nvSpPr>
      <dsp:spPr>
        <a:xfrm>
          <a:off x="8126" y="41342"/>
          <a:ext cx="5781575" cy="2312630"/>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a:t>Introduction to Azure SQL Database</a:t>
          </a:r>
        </a:p>
      </dsp:txBody>
      <dsp:txXfrm>
        <a:off x="1164441" y="41342"/>
        <a:ext cx="3468945" cy="2312630"/>
      </dsp:txXfrm>
    </dsp:sp>
    <dsp:sp modelId="{CC569C0E-88D0-41CC-BB6F-A580ED282FAB}">
      <dsp:nvSpPr>
        <dsp:cNvPr id="0" name=""/>
        <dsp:cNvSpPr/>
      </dsp:nvSpPr>
      <dsp:spPr>
        <a:xfrm>
          <a:off x="8126" y="2643051"/>
          <a:ext cx="4625260" cy="26356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228600" lvl="1" indent="-228600" algn="l" defTabSz="889000">
            <a:lnSpc>
              <a:spcPct val="90000"/>
            </a:lnSpc>
            <a:spcBef>
              <a:spcPct val="0"/>
            </a:spcBef>
            <a:spcAft>
              <a:spcPct val="15000"/>
            </a:spcAft>
            <a:buChar char="•"/>
          </a:pPr>
          <a:r>
            <a:rPr lang="en-US" sz="2000" kern="1200"/>
            <a:t>Basic concepts of Azure SQL Database</a:t>
          </a:r>
        </a:p>
        <a:p>
          <a:pPr marL="228600" lvl="1" indent="-228600" algn="l" defTabSz="889000">
            <a:lnSpc>
              <a:spcPct val="90000"/>
            </a:lnSpc>
            <a:spcBef>
              <a:spcPct val="0"/>
            </a:spcBef>
            <a:spcAft>
              <a:spcPct val="15000"/>
            </a:spcAft>
            <a:buChar char="•"/>
          </a:pPr>
          <a:r>
            <a:rPr lang="en-US" sz="2000" kern="1200"/>
            <a:t>How to create Azure SQL Database</a:t>
          </a:r>
        </a:p>
        <a:p>
          <a:pPr marL="228600" lvl="1" indent="-228600" algn="l" defTabSz="889000">
            <a:lnSpc>
              <a:spcPct val="90000"/>
            </a:lnSpc>
            <a:spcBef>
              <a:spcPct val="0"/>
            </a:spcBef>
            <a:spcAft>
              <a:spcPct val="15000"/>
            </a:spcAft>
            <a:buChar char="•"/>
          </a:pPr>
          <a:r>
            <a:rPr lang="en-US" sz="2000" kern="1200"/>
            <a:t>Introduction to Elastic Database Pools in Azure SQL Database</a:t>
          </a:r>
        </a:p>
        <a:p>
          <a:pPr marL="228600" lvl="1" indent="-228600" algn="l" defTabSz="889000">
            <a:lnSpc>
              <a:spcPct val="90000"/>
            </a:lnSpc>
            <a:spcBef>
              <a:spcPct val="0"/>
            </a:spcBef>
            <a:spcAft>
              <a:spcPct val="15000"/>
            </a:spcAft>
            <a:buChar char="•"/>
          </a:pPr>
          <a:r>
            <a:rPr lang="en-US" sz="2000" kern="1200"/>
            <a:t>The difference between SQL Server IaaS and PaaS Solutions</a:t>
          </a:r>
        </a:p>
      </dsp:txBody>
      <dsp:txXfrm>
        <a:off x="8126" y="2643051"/>
        <a:ext cx="4625260" cy="2635606"/>
      </dsp:txXfrm>
    </dsp:sp>
    <dsp:sp modelId="{5B33C689-FB55-4987-A44E-07F71802C419}">
      <dsp:nvSpPr>
        <dsp:cNvPr id="0" name=""/>
        <dsp:cNvSpPr/>
      </dsp:nvSpPr>
      <dsp:spPr>
        <a:xfrm>
          <a:off x="5573702" y="41342"/>
          <a:ext cx="5781575" cy="2312630"/>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dirty="0"/>
            <a:t>Azure SQL Database Administration</a:t>
          </a:r>
        </a:p>
      </dsp:txBody>
      <dsp:txXfrm>
        <a:off x="6730017" y="41342"/>
        <a:ext cx="3468945" cy="2312630"/>
      </dsp:txXfrm>
    </dsp:sp>
    <dsp:sp modelId="{66E57457-1C32-44CB-A934-D3009B329B86}">
      <dsp:nvSpPr>
        <dsp:cNvPr id="0" name=""/>
        <dsp:cNvSpPr/>
      </dsp:nvSpPr>
      <dsp:spPr>
        <a:xfrm>
          <a:off x="5573702" y="2643051"/>
          <a:ext cx="4625260" cy="26356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228600" lvl="1" indent="-228600" algn="l" defTabSz="889000">
            <a:lnSpc>
              <a:spcPct val="90000"/>
            </a:lnSpc>
            <a:spcBef>
              <a:spcPct val="0"/>
            </a:spcBef>
            <a:spcAft>
              <a:spcPct val="15000"/>
            </a:spcAft>
            <a:buChar char="•"/>
          </a:pPr>
          <a:r>
            <a:rPr lang="en-US" sz="2000" kern="1200"/>
            <a:t>Various Tools to Manage Azure SQL Database</a:t>
          </a:r>
        </a:p>
        <a:p>
          <a:pPr marL="228600" lvl="1" indent="-228600" algn="l" defTabSz="889000">
            <a:lnSpc>
              <a:spcPct val="90000"/>
            </a:lnSpc>
            <a:spcBef>
              <a:spcPct val="0"/>
            </a:spcBef>
            <a:spcAft>
              <a:spcPct val="15000"/>
            </a:spcAft>
            <a:buChar char="•"/>
          </a:pPr>
          <a:r>
            <a:rPr lang="en-US" sz="2000" kern="1200"/>
            <a:t>Scaling Azure SQL Databases Up and Down</a:t>
          </a:r>
        </a:p>
        <a:p>
          <a:pPr marL="228600" lvl="1" indent="-228600" algn="l" defTabSz="889000">
            <a:lnSpc>
              <a:spcPct val="90000"/>
            </a:lnSpc>
            <a:spcBef>
              <a:spcPct val="0"/>
            </a:spcBef>
            <a:spcAft>
              <a:spcPct val="15000"/>
            </a:spcAft>
            <a:buChar char="•"/>
          </a:pPr>
          <a:r>
            <a:rPr lang="en-US" sz="2000" kern="1200"/>
            <a:t>Maintenance and Scheduling Jobs in Azure SQL Database</a:t>
          </a:r>
        </a:p>
        <a:p>
          <a:pPr marL="228600" lvl="1" indent="-228600" algn="l" defTabSz="889000">
            <a:lnSpc>
              <a:spcPct val="90000"/>
            </a:lnSpc>
            <a:spcBef>
              <a:spcPct val="0"/>
            </a:spcBef>
            <a:spcAft>
              <a:spcPct val="15000"/>
            </a:spcAft>
            <a:buChar char="•"/>
          </a:pPr>
          <a:r>
            <a:rPr lang="en-US" sz="2000" kern="1200"/>
            <a:t>Azure SQL Database Read Scale-Out</a:t>
          </a:r>
        </a:p>
        <a:p>
          <a:pPr marL="228600" lvl="1" indent="-228600" algn="l" defTabSz="889000">
            <a:lnSpc>
              <a:spcPct val="90000"/>
            </a:lnSpc>
            <a:spcBef>
              <a:spcPct val="0"/>
            </a:spcBef>
            <a:spcAft>
              <a:spcPct val="15000"/>
            </a:spcAft>
            <a:buChar char="•"/>
          </a:pPr>
          <a:endParaRPr lang="en-US" sz="2000" kern="1200"/>
        </a:p>
      </dsp:txBody>
      <dsp:txXfrm>
        <a:off x="5573702" y="2643051"/>
        <a:ext cx="4625260" cy="263560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7124A3-90CF-4886-A9A9-A6B5DE6FB8FD}">
      <dsp:nvSpPr>
        <dsp:cNvPr id="0" name=""/>
        <dsp:cNvSpPr/>
      </dsp:nvSpPr>
      <dsp:spPr>
        <a:xfrm>
          <a:off x="8126" y="6333"/>
          <a:ext cx="5781575" cy="2312630"/>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a:t>Azure SQL Database Business Continuity</a:t>
          </a:r>
        </a:p>
      </dsp:txBody>
      <dsp:txXfrm>
        <a:off x="1164441" y="6333"/>
        <a:ext cx="3468945" cy="2312630"/>
      </dsp:txXfrm>
    </dsp:sp>
    <dsp:sp modelId="{68E248CA-96B1-433F-A6E6-BE8C9636B5AD}">
      <dsp:nvSpPr>
        <dsp:cNvPr id="0" name=""/>
        <dsp:cNvSpPr/>
      </dsp:nvSpPr>
      <dsp:spPr>
        <a:xfrm>
          <a:off x="8126" y="2608042"/>
          <a:ext cx="4625260" cy="27056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71450" lvl="1" indent="-171450" algn="l" defTabSz="800100">
            <a:lnSpc>
              <a:spcPct val="90000"/>
            </a:lnSpc>
            <a:spcBef>
              <a:spcPct val="0"/>
            </a:spcBef>
            <a:spcAft>
              <a:spcPct val="15000"/>
            </a:spcAft>
            <a:buChar char="•"/>
          </a:pPr>
          <a:r>
            <a:rPr lang="en-US" sz="1800" kern="1200"/>
            <a:t>Business Continuity Features in Azure SQL Database</a:t>
          </a:r>
        </a:p>
        <a:p>
          <a:pPr marL="171450" lvl="1" indent="-171450" algn="l" defTabSz="800100">
            <a:lnSpc>
              <a:spcPct val="90000"/>
            </a:lnSpc>
            <a:spcBef>
              <a:spcPct val="0"/>
            </a:spcBef>
            <a:spcAft>
              <a:spcPct val="15000"/>
            </a:spcAft>
            <a:buChar char="•"/>
          </a:pPr>
          <a:r>
            <a:rPr lang="en-US" sz="1800" kern="1200"/>
            <a:t>Disaster Recovery Features in Azure SQL Database</a:t>
          </a:r>
        </a:p>
      </dsp:txBody>
      <dsp:txXfrm>
        <a:off x="8126" y="2608042"/>
        <a:ext cx="4625260" cy="2705625"/>
      </dsp:txXfrm>
    </dsp:sp>
    <dsp:sp modelId="{E7068F9B-B4AA-4BF0-A44E-73C912F4129C}">
      <dsp:nvSpPr>
        <dsp:cNvPr id="0" name=""/>
        <dsp:cNvSpPr/>
      </dsp:nvSpPr>
      <dsp:spPr>
        <a:xfrm>
          <a:off x="5573702" y="6333"/>
          <a:ext cx="5781575" cy="2312630"/>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b="0" kern="1200">
              <a:latin typeface="+mn-lt"/>
              <a:ea typeface="Calibri" panose="020F0502020204030204" pitchFamily="34" charset="0"/>
              <a:cs typeface="Times New Roman" panose="02020603050405020304" pitchFamily="18" charset="0"/>
            </a:rPr>
            <a:t>Manage Security for Azure SQL Database</a:t>
          </a:r>
          <a:endParaRPr lang="en-US" sz="1800" b="0" kern="1200">
            <a:latin typeface="+mn-lt"/>
          </a:endParaRPr>
        </a:p>
      </dsp:txBody>
      <dsp:txXfrm>
        <a:off x="6730017" y="6333"/>
        <a:ext cx="3468945" cy="2312630"/>
      </dsp:txXfrm>
    </dsp:sp>
    <dsp:sp modelId="{42838614-75FE-4200-B84F-165405580FC9}">
      <dsp:nvSpPr>
        <dsp:cNvPr id="0" name=""/>
        <dsp:cNvSpPr/>
      </dsp:nvSpPr>
      <dsp:spPr>
        <a:xfrm>
          <a:off x="5573702" y="2608042"/>
          <a:ext cx="4625260" cy="27056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14300" lvl="1" indent="-114300" algn="l" defTabSz="622300">
            <a:lnSpc>
              <a:spcPct val="90000"/>
            </a:lnSpc>
            <a:spcBef>
              <a:spcPct val="0"/>
            </a:spcBef>
            <a:spcAft>
              <a:spcPct val="15000"/>
            </a:spcAft>
            <a:buChar char="•"/>
          </a:pPr>
          <a:r>
            <a:rPr lang="en-US" sz="1400" kern="1200"/>
            <a:t>Introduction to Azure SQL Database Security</a:t>
          </a:r>
        </a:p>
        <a:p>
          <a:pPr marL="114300" lvl="1" indent="-114300" algn="l" defTabSz="622300">
            <a:lnSpc>
              <a:spcPct val="90000"/>
            </a:lnSpc>
            <a:spcBef>
              <a:spcPct val="0"/>
            </a:spcBef>
            <a:spcAft>
              <a:spcPct val="15000"/>
            </a:spcAft>
            <a:buChar char="•"/>
          </a:pPr>
          <a:r>
            <a:rPr lang="en-US" sz="1400" kern="1200"/>
            <a:t>Implement Azure Active Directory Security</a:t>
          </a:r>
        </a:p>
        <a:p>
          <a:pPr marL="114300" lvl="1" indent="-114300" algn="l" defTabSz="622300">
            <a:lnSpc>
              <a:spcPct val="90000"/>
            </a:lnSpc>
            <a:spcBef>
              <a:spcPct val="0"/>
            </a:spcBef>
            <a:spcAft>
              <a:spcPct val="15000"/>
            </a:spcAft>
            <a:buChar char="•"/>
          </a:pPr>
          <a:r>
            <a:rPr lang="en-US" sz="1400" kern="1200"/>
            <a:t>Manage Logins in Azure SQL Database</a:t>
          </a:r>
        </a:p>
        <a:p>
          <a:pPr marL="114300" lvl="1" indent="-114300" algn="l" defTabSz="622300">
            <a:lnSpc>
              <a:spcPct val="90000"/>
            </a:lnSpc>
            <a:spcBef>
              <a:spcPct val="0"/>
            </a:spcBef>
            <a:spcAft>
              <a:spcPct val="15000"/>
            </a:spcAft>
            <a:buChar char="•"/>
          </a:pPr>
          <a:r>
            <a:rPr lang="en-US" sz="1400" kern="1200"/>
            <a:t>Implement Firewall Rules and Virtual Networks</a:t>
          </a:r>
        </a:p>
        <a:p>
          <a:pPr marL="114300" lvl="1" indent="-114300" algn="l" defTabSz="622300">
            <a:lnSpc>
              <a:spcPct val="90000"/>
            </a:lnSpc>
            <a:spcBef>
              <a:spcPct val="0"/>
            </a:spcBef>
            <a:spcAft>
              <a:spcPct val="15000"/>
            </a:spcAft>
            <a:buChar char="•"/>
          </a:pPr>
          <a:r>
            <a:rPr lang="en-US" sz="1400" kern="1200"/>
            <a:t>Implement Transparent Data Encryption</a:t>
          </a:r>
        </a:p>
        <a:p>
          <a:pPr marL="114300" lvl="1" indent="-114300" algn="l" defTabSz="622300">
            <a:lnSpc>
              <a:spcPct val="90000"/>
            </a:lnSpc>
            <a:spcBef>
              <a:spcPct val="0"/>
            </a:spcBef>
            <a:spcAft>
              <a:spcPct val="15000"/>
            </a:spcAft>
            <a:buChar char="•"/>
          </a:pPr>
          <a:r>
            <a:rPr lang="en-US" sz="1400" kern="1200"/>
            <a:t>Implement Always Encrypted</a:t>
          </a:r>
        </a:p>
        <a:p>
          <a:pPr marL="114300" lvl="1" indent="-114300" algn="l" defTabSz="622300">
            <a:lnSpc>
              <a:spcPct val="90000"/>
            </a:lnSpc>
            <a:spcBef>
              <a:spcPct val="0"/>
            </a:spcBef>
            <a:spcAft>
              <a:spcPct val="15000"/>
            </a:spcAft>
            <a:buChar char="•"/>
          </a:pPr>
          <a:r>
            <a:rPr lang="en-US" sz="1400" kern="1200"/>
            <a:t>Implement Row Level Security</a:t>
          </a:r>
        </a:p>
        <a:p>
          <a:pPr marL="114300" lvl="1" indent="-114300" algn="l" defTabSz="622300">
            <a:lnSpc>
              <a:spcPct val="90000"/>
            </a:lnSpc>
            <a:spcBef>
              <a:spcPct val="0"/>
            </a:spcBef>
            <a:spcAft>
              <a:spcPct val="15000"/>
            </a:spcAft>
            <a:buChar char="•"/>
          </a:pPr>
          <a:r>
            <a:rPr lang="en-US" sz="1400" kern="1200"/>
            <a:t>Implement Dynamic Data Masking</a:t>
          </a:r>
        </a:p>
        <a:p>
          <a:pPr marL="114300" lvl="1" indent="-114300" algn="l" defTabSz="622300">
            <a:lnSpc>
              <a:spcPct val="90000"/>
            </a:lnSpc>
            <a:spcBef>
              <a:spcPct val="0"/>
            </a:spcBef>
            <a:spcAft>
              <a:spcPct val="15000"/>
            </a:spcAft>
            <a:buChar char="•"/>
          </a:pPr>
          <a:r>
            <a:rPr lang="en-US" sz="1400" kern="1200"/>
            <a:t>Implement Auditing for Azure SQL Database</a:t>
          </a:r>
        </a:p>
        <a:p>
          <a:pPr marL="114300" lvl="1" indent="-114300" algn="l" defTabSz="622300">
            <a:lnSpc>
              <a:spcPct val="90000"/>
            </a:lnSpc>
            <a:spcBef>
              <a:spcPct val="0"/>
            </a:spcBef>
            <a:spcAft>
              <a:spcPct val="15000"/>
            </a:spcAft>
            <a:buChar char="•"/>
          </a:pPr>
          <a:r>
            <a:rPr lang="en-US" sz="1400" kern="1200"/>
            <a:t>Implement Advanced Data Security</a:t>
          </a:r>
        </a:p>
        <a:p>
          <a:pPr marL="114300" lvl="1" indent="-114300" algn="l" defTabSz="622300">
            <a:lnSpc>
              <a:spcPct val="90000"/>
            </a:lnSpc>
            <a:spcBef>
              <a:spcPct val="0"/>
            </a:spcBef>
            <a:spcAft>
              <a:spcPct val="15000"/>
            </a:spcAft>
            <a:buChar char="•"/>
          </a:pPr>
          <a:endParaRPr lang="en-US" sz="1400" kern="1200"/>
        </a:p>
      </dsp:txBody>
      <dsp:txXfrm>
        <a:off x="5573702" y="2608042"/>
        <a:ext cx="4625260" cy="270562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FD1E93-2F32-435C-9AC9-2D5171682B04}">
      <dsp:nvSpPr>
        <dsp:cNvPr id="0" name=""/>
        <dsp:cNvSpPr/>
      </dsp:nvSpPr>
      <dsp:spPr>
        <a:xfrm>
          <a:off x="8126" y="5000"/>
          <a:ext cx="5781575" cy="2160000"/>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a:t>Monitoring and Tuning Azure SQL Database</a:t>
          </a:r>
        </a:p>
      </dsp:txBody>
      <dsp:txXfrm>
        <a:off x="1088126" y="5000"/>
        <a:ext cx="3621575" cy="2160000"/>
      </dsp:txXfrm>
    </dsp:sp>
    <dsp:sp modelId="{99361EE7-8674-4DE3-B25E-DCADA6E1F49A}">
      <dsp:nvSpPr>
        <dsp:cNvPr id="0" name=""/>
        <dsp:cNvSpPr/>
      </dsp:nvSpPr>
      <dsp:spPr>
        <a:xfrm>
          <a:off x="8126" y="2435000"/>
          <a:ext cx="4625260" cy="288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71450" lvl="1" indent="-171450" algn="l" defTabSz="711200">
            <a:lnSpc>
              <a:spcPct val="90000"/>
            </a:lnSpc>
            <a:spcBef>
              <a:spcPct val="0"/>
            </a:spcBef>
            <a:spcAft>
              <a:spcPct val="15000"/>
            </a:spcAft>
            <a:buChar char="•"/>
          </a:pPr>
          <a:r>
            <a:rPr lang="en-US" sz="1600" kern="1200"/>
            <a:t>Monitoring and Troubleshooting Azure SQL Database</a:t>
          </a:r>
        </a:p>
        <a:p>
          <a:pPr marL="171450" lvl="1" indent="-171450" algn="l" defTabSz="711200">
            <a:lnSpc>
              <a:spcPct val="90000"/>
            </a:lnSpc>
            <a:spcBef>
              <a:spcPct val="0"/>
            </a:spcBef>
            <a:spcAft>
              <a:spcPct val="15000"/>
            </a:spcAft>
            <a:buChar char="•"/>
          </a:pPr>
          <a:r>
            <a:rPr lang="en-US" sz="1600" kern="1200"/>
            <a:t>Monitoring Query Performance using Query Performance Insight</a:t>
          </a:r>
        </a:p>
        <a:p>
          <a:pPr marL="171450" lvl="1" indent="-171450" algn="l" defTabSz="711200">
            <a:lnSpc>
              <a:spcPct val="90000"/>
            </a:lnSpc>
            <a:spcBef>
              <a:spcPct val="0"/>
            </a:spcBef>
            <a:spcAft>
              <a:spcPct val="15000"/>
            </a:spcAft>
            <a:buChar char="•"/>
          </a:pPr>
          <a:r>
            <a:rPr lang="en-US" sz="1600" kern="1200"/>
            <a:t>Azure SQL Database Tuning using Automatic Tuning</a:t>
          </a:r>
        </a:p>
        <a:p>
          <a:pPr marL="171450" lvl="1" indent="-171450" algn="l" defTabSz="711200">
            <a:lnSpc>
              <a:spcPct val="90000"/>
            </a:lnSpc>
            <a:spcBef>
              <a:spcPct val="0"/>
            </a:spcBef>
            <a:spcAft>
              <a:spcPct val="15000"/>
            </a:spcAft>
            <a:buChar char="•"/>
          </a:pPr>
          <a:r>
            <a:rPr lang="en-US" sz="1600" kern="1200"/>
            <a:t>Monitoring Azure SQL Database Performance using Intelligent Insights</a:t>
          </a:r>
        </a:p>
        <a:p>
          <a:pPr marL="171450" lvl="1" indent="-171450" algn="l" defTabSz="711200">
            <a:lnSpc>
              <a:spcPct val="90000"/>
            </a:lnSpc>
            <a:spcBef>
              <a:spcPct val="0"/>
            </a:spcBef>
            <a:spcAft>
              <a:spcPct val="15000"/>
            </a:spcAft>
            <a:buChar char="•"/>
          </a:pPr>
          <a:r>
            <a:rPr lang="en-US" sz="1600" kern="1200"/>
            <a:t>Monitoring Azure SQL Database Performance using Extended Events</a:t>
          </a:r>
        </a:p>
        <a:p>
          <a:pPr marL="171450" lvl="1" indent="-171450" algn="l" defTabSz="711200">
            <a:lnSpc>
              <a:spcPct val="90000"/>
            </a:lnSpc>
            <a:spcBef>
              <a:spcPct val="0"/>
            </a:spcBef>
            <a:spcAft>
              <a:spcPct val="15000"/>
            </a:spcAft>
            <a:buChar char="•"/>
          </a:pPr>
          <a:r>
            <a:rPr lang="en-US" sz="1600" kern="1200"/>
            <a:t>Configure Alerts through Azure Portal</a:t>
          </a:r>
        </a:p>
      </dsp:txBody>
      <dsp:txXfrm>
        <a:off x="8126" y="2435000"/>
        <a:ext cx="4625260" cy="2880000"/>
      </dsp:txXfrm>
    </dsp:sp>
    <dsp:sp modelId="{F5C8307E-F09C-42A9-8B30-FA6FD26468F5}">
      <dsp:nvSpPr>
        <dsp:cNvPr id="0" name=""/>
        <dsp:cNvSpPr/>
      </dsp:nvSpPr>
      <dsp:spPr>
        <a:xfrm>
          <a:off x="5573702" y="5000"/>
          <a:ext cx="5781575" cy="2160000"/>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a:t>Azure SQL Database Migration &amp; Sync Data</a:t>
          </a:r>
        </a:p>
      </dsp:txBody>
      <dsp:txXfrm>
        <a:off x="6653702" y="5000"/>
        <a:ext cx="3621575" cy="2160000"/>
      </dsp:txXfrm>
    </dsp:sp>
    <dsp:sp modelId="{4C2F6728-8833-4ED2-A906-E5F46AAE2343}">
      <dsp:nvSpPr>
        <dsp:cNvPr id="0" name=""/>
        <dsp:cNvSpPr/>
      </dsp:nvSpPr>
      <dsp:spPr>
        <a:xfrm>
          <a:off x="5573702" y="2435000"/>
          <a:ext cx="4625260" cy="288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71450" lvl="1" indent="-171450" algn="l" defTabSz="711200">
            <a:lnSpc>
              <a:spcPct val="90000"/>
            </a:lnSpc>
            <a:spcBef>
              <a:spcPct val="0"/>
            </a:spcBef>
            <a:spcAft>
              <a:spcPct val="15000"/>
            </a:spcAft>
            <a:buChar char="•"/>
          </a:pPr>
          <a:r>
            <a:rPr lang="en-US" sz="1600" kern="1200"/>
            <a:t>Steps to migrate your database to Azure SQL Database</a:t>
          </a:r>
        </a:p>
        <a:p>
          <a:pPr marL="171450" lvl="1" indent="-171450" algn="l" defTabSz="711200">
            <a:lnSpc>
              <a:spcPct val="90000"/>
            </a:lnSpc>
            <a:spcBef>
              <a:spcPct val="0"/>
            </a:spcBef>
            <a:spcAft>
              <a:spcPct val="15000"/>
            </a:spcAft>
            <a:buChar char="•"/>
          </a:pPr>
          <a:r>
            <a:rPr lang="en-US" sz="1600" kern="1200"/>
            <a:t>Is your database ready to move to Azure SQL database?</a:t>
          </a:r>
        </a:p>
        <a:p>
          <a:pPr marL="171450" lvl="1" indent="-171450" algn="l" defTabSz="711200">
            <a:lnSpc>
              <a:spcPct val="90000"/>
            </a:lnSpc>
            <a:spcBef>
              <a:spcPct val="0"/>
            </a:spcBef>
            <a:spcAft>
              <a:spcPct val="15000"/>
            </a:spcAft>
            <a:buChar char="•"/>
          </a:pPr>
          <a:r>
            <a:rPr lang="en-US" sz="1600" kern="1200"/>
            <a:t>Fix database migration compatibility issues</a:t>
          </a:r>
        </a:p>
        <a:p>
          <a:pPr marL="171450" lvl="1" indent="-171450" algn="l" defTabSz="711200">
            <a:lnSpc>
              <a:spcPct val="90000"/>
            </a:lnSpc>
            <a:spcBef>
              <a:spcPct val="0"/>
            </a:spcBef>
            <a:spcAft>
              <a:spcPct val="15000"/>
            </a:spcAft>
            <a:buChar char="•"/>
          </a:pPr>
          <a:r>
            <a:rPr lang="en-US" sz="1600" kern="1200"/>
            <a:t>Identify the right Azure SQL Database SKU</a:t>
          </a:r>
        </a:p>
        <a:p>
          <a:pPr marL="171450" lvl="1" indent="-171450" algn="l" defTabSz="711200">
            <a:lnSpc>
              <a:spcPct val="90000"/>
            </a:lnSpc>
            <a:spcBef>
              <a:spcPct val="0"/>
            </a:spcBef>
            <a:spcAft>
              <a:spcPct val="15000"/>
            </a:spcAft>
            <a:buChar char="•"/>
          </a:pPr>
          <a:r>
            <a:rPr lang="en-US" sz="1600" kern="1200"/>
            <a:t>Migrate a compatible SQL Server database to Azure SQL Database</a:t>
          </a:r>
        </a:p>
        <a:p>
          <a:pPr marL="171450" lvl="1" indent="-171450" algn="l" defTabSz="711200">
            <a:lnSpc>
              <a:spcPct val="90000"/>
            </a:lnSpc>
            <a:spcBef>
              <a:spcPct val="0"/>
            </a:spcBef>
            <a:spcAft>
              <a:spcPct val="15000"/>
            </a:spcAft>
            <a:buChar char="•"/>
          </a:pPr>
          <a:r>
            <a:rPr lang="en-US" sz="1600" kern="1200"/>
            <a:t> Sync data across multiple cloud and on-premises databases</a:t>
          </a:r>
        </a:p>
      </dsp:txBody>
      <dsp:txXfrm>
        <a:off x="5573702" y="2435000"/>
        <a:ext cx="4625260" cy="288000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D5A3B7-A5B1-4309-869B-C616A862E904}">
      <dsp:nvSpPr>
        <dsp:cNvPr id="0" name=""/>
        <dsp:cNvSpPr/>
      </dsp:nvSpPr>
      <dsp:spPr>
        <a:xfrm>
          <a:off x="0" y="24018"/>
          <a:ext cx="11042291" cy="405405"/>
        </a:xfrm>
        <a:prstGeom prst="roundRect">
          <a:avLst/>
        </a:prstGeom>
        <a:solidFill>
          <a:schemeClr val="accent4">
            <a:lumMod val="20000"/>
            <a:lumOff val="8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i="0" kern="1200" dirty="0">
              <a:latin typeface="+mn-lt"/>
            </a:rPr>
            <a:t>M01L02Lab01 - Create an Azure SQL Database (20)</a:t>
          </a:r>
          <a:endParaRPr lang="en-US" sz="1600" kern="1200" dirty="0">
            <a:latin typeface="+mn-lt"/>
          </a:endParaRPr>
        </a:p>
      </dsp:txBody>
      <dsp:txXfrm>
        <a:off x="19790" y="43808"/>
        <a:ext cx="11002711" cy="365825"/>
      </dsp:txXfrm>
    </dsp:sp>
    <dsp:sp modelId="{EA84AF5E-DFEE-4C4D-9C58-7EFEEF289B6B}">
      <dsp:nvSpPr>
        <dsp:cNvPr id="0" name=""/>
        <dsp:cNvSpPr/>
      </dsp:nvSpPr>
      <dsp:spPr>
        <a:xfrm>
          <a:off x="0" y="461103"/>
          <a:ext cx="11042291" cy="405405"/>
        </a:xfrm>
        <a:prstGeom prst="roundRect">
          <a:avLst/>
        </a:prstGeom>
        <a:solidFill>
          <a:schemeClr val="accent4">
            <a:lumMod val="20000"/>
            <a:lumOff val="8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i="0" kern="1200" dirty="0">
              <a:latin typeface="+mn-lt"/>
            </a:rPr>
            <a:t>M02L01Lab01 - Various Tools to Manage Azure SQL Database (30)</a:t>
          </a:r>
        </a:p>
      </dsp:txBody>
      <dsp:txXfrm>
        <a:off x="19790" y="480893"/>
        <a:ext cx="11002711" cy="365825"/>
      </dsp:txXfrm>
    </dsp:sp>
    <dsp:sp modelId="{B02780E6-60D8-4F8B-A07D-E58F495142A6}">
      <dsp:nvSpPr>
        <dsp:cNvPr id="0" name=""/>
        <dsp:cNvSpPr/>
      </dsp:nvSpPr>
      <dsp:spPr>
        <a:xfrm>
          <a:off x="0" y="898188"/>
          <a:ext cx="11042291" cy="405405"/>
        </a:xfrm>
        <a:prstGeom prst="roundRect">
          <a:avLst/>
        </a:prstGeom>
        <a:solidFill>
          <a:schemeClr val="accent4">
            <a:lumMod val="20000"/>
            <a:lumOff val="8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i="0" kern="1200" dirty="0">
              <a:latin typeface="+mn-lt"/>
            </a:rPr>
            <a:t>M02L02Lab01 - Scale up or down an Azure SQL Database (10)</a:t>
          </a:r>
        </a:p>
      </dsp:txBody>
      <dsp:txXfrm>
        <a:off x="19790" y="917978"/>
        <a:ext cx="11002711" cy="365825"/>
      </dsp:txXfrm>
    </dsp:sp>
    <dsp:sp modelId="{CAEF0414-B700-469E-B386-9984FBDAE76D}">
      <dsp:nvSpPr>
        <dsp:cNvPr id="0" name=""/>
        <dsp:cNvSpPr/>
      </dsp:nvSpPr>
      <dsp:spPr>
        <a:xfrm>
          <a:off x="0" y="1335273"/>
          <a:ext cx="11042291" cy="405405"/>
        </a:xfrm>
        <a:prstGeom prst="roundRect">
          <a:avLst/>
        </a:prstGeom>
        <a:solidFill>
          <a:schemeClr val="accent4">
            <a:lumMod val="20000"/>
            <a:lumOff val="8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i="0" kern="1200" dirty="0">
              <a:latin typeface="+mn-lt"/>
            </a:rPr>
            <a:t>M02L03Lab01 - Elastic Database Jobs (30)</a:t>
          </a:r>
        </a:p>
      </dsp:txBody>
      <dsp:txXfrm>
        <a:off x="19790" y="1355063"/>
        <a:ext cx="11002711" cy="365825"/>
      </dsp:txXfrm>
    </dsp:sp>
    <dsp:sp modelId="{7DCAEC0C-85B3-45A2-A4DA-FCFF04742AEF}">
      <dsp:nvSpPr>
        <dsp:cNvPr id="0" name=""/>
        <dsp:cNvSpPr/>
      </dsp:nvSpPr>
      <dsp:spPr>
        <a:xfrm>
          <a:off x="0" y="1772358"/>
          <a:ext cx="11042291" cy="405405"/>
        </a:xfrm>
        <a:prstGeom prst="roundRect">
          <a:avLst/>
        </a:prstGeom>
        <a:solidFill>
          <a:schemeClr val="accent1">
            <a:lumMod val="40000"/>
            <a:lumOff val="6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i="0" kern="1200" dirty="0">
              <a:latin typeface="+mn-lt"/>
            </a:rPr>
            <a:t>M03L01Lab01 - Point in time restore of an Azure SQL Database (20)</a:t>
          </a:r>
        </a:p>
      </dsp:txBody>
      <dsp:txXfrm>
        <a:off x="19790" y="1792148"/>
        <a:ext cx="11002711" cy="365825"/>
      </dsp:txXfrm>
    </dsp:sp>
    <dsp:sp modelId="{C100254D-591A-4948-8C23-E56F620BFCC9}">
      <dsp:nvSpPr>
        <dsp:cNvPr id="0" name=""/>
        <dsp:cNvSpPr/>
      </dsp:nvSpPr>
      <dsp:spPr>
        <a:xfrm>
          <a:off x="0" y="2209443"/>
          <a:ext cx="11042291" cy="405405"/>
        </a:xfrm>
        <a:prstGeom prst="roundRect">
          <a:avLst/>
        </a:prstGeom>
        <a:solidFill>
          <a:schemeClr val="accent1">
            <a:lumMod val="40000"/>
            <a:lumOff val="6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i="0" kern="1200" dirty="0">
              <a:latin typeface="+mn-lt"/>
            </a:rPr>
            <a:t>M03L02Lab01 - Configure Geo Replication for an Azure SQL Database (20)</a:t>
          </a:r>
        </a:p>
      </dsp:txBody>
      <dsp:txXfrm>
        <a:off x="19790" y="2229233"/>
        <a:ext cx="11002711" cy="365825"/>
      </dsp:txXfrm>
    </dsp:sp>
    <dsp:sp modelId="{5D2F77F1-BC78-4378-A9A1-81613CC412AA}">
      <dsp:nvSpPr>
        <dsp:cNvPr id="0" name=""/>
        <dsp:cNvSpPr/>
      </dsp:nvSpPr>
      <dsp:spPr>
        <a:xfrm>
          <a:off x="0" y="2646528"/>
          <a:ext cx="11042291" cy="405405"/>
        </a:xfrm>
        <a:prstGeom prst="roundRect">
          <a:avLst/>
        </a:prstGeom>
        <a:solidFill>
          <a:schemeClr val="accent1">
            <a:lumMod val="40000"/>
            <a:lumOff val="6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i="0" kern="1200" dirty="0">
              <a:latin typeface="+mn-lt"/>
            </a:rPr>
            <a:t>M04L06Lab01 - Implement Always Encrypted (20)</a:t>
          </a:r>
        </a:p>
      </dsp:txBody>
      <dsp:txXfrm>
        <a:off x="19790" y="2666318"/>
        <a:ext cx="11002711" cy="365825"/>
      </dsp:txXfrm>
    </dsp:sp>
    <dsp:sp modelId="{7BA00FA3-1DB2-47AC-A08E-6E6917FA675E}">
      <dsp:nvSpPr>
        <dsp:cNvPr id="0" name=""/>
        <dsp:cNvSpPr/>
      </dsp:nvSpPr>
      <dsp:spPr>
        <a:xfrm>
          <a:off x="0" y="3083613"/>
          <a:ext cx="11042291" cy="405405"/>
        </a:xfrm>
        <a:prstGeom prst="roundRect">
          <a:avLst/>
        </a:prstGeom>
        <a:solidFill>
          <a:schemeClr val="accent1">
            <a:lumMod val="40000"/>
            <a:lumOff val="6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i="0" kern="1200" dirty="0">
              <a:latin typeface="+mn-lt"/>
            </a:rPr>
            <a:t>M04L07Lab01 - Implement Row Level Security (10)</a:t>
          </a:r>
        </a:p>
      </dsp:txBody>
      <dsp:txXfrm>
        <a:off x="19790" y="3103403"/>
        <a:ext cx="11002711" cy="365825"/>
      </dsp:txXfrm>
    </dsp:sp>
    <dsp:sp modelId="{9C1B2995-C5CD-4505-AC28-216033E96F5D}">
      <dsp:nvSpPr>
        <dsp:cNvPr id="0" name=""/>
        <dsp:cNvSpPr/>
      </dsp:nvSpPr>
      <dsp:spPr>
        <a:xfrm>
          <a:off x="0" y="3520698"/>
          <a:ext cx="11042291" cy="405405"/>
        </a:xfrm>
        <a:prstGeom prst="roundRect">
          <a:avLst/>
        </a:prstGeom>
        <a:solidFill>
          <a:schemeClr val="accent1">
            <a:lumMod val="40000"/>
            <a:lumOff val="6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i="0" kern="1200" dirty="0">
              <a:latin typeface="+mn-lt"/>
            </a:rPr>
            <a:t>M04L10Lab01 - Vulnerability Assessment (20)</a:t>
          </a:r>
        </a:p>
      </dsp:txBody>
      <dsp:txXfrm>
        <a:off x="19790" y="3540488"/>
        <a:ext cx="11002711" cy="365825"/>
      </dsp:txXfrm>
    </dsp:sp>
    <dsp:sp modelId="{4F55F967-0C1F-4C6A-8963-CB863A222ECC}">
      <dsp:nvSpPr>
        <dsp:cNvPr id="0" name=""/>
        <dsp:cNvSpPr/>
      </dsp:nvSpPr>
      <dsp:spPr>
        <a:xfrm>
          <a:off x="0" y="3957783"/>
          <a:ext cx="11042291" cy="405405"/>
        </a:xfrm>
        <a:prstGeom prst="roundRect">
          <a:avLst/>
        </a:prstGeom>
        <a:solidFill>
          <a:schemeClr val="accent5">
            <a:lumMod val="60000"/>
            <a:lumOff val="4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i="0" kern="1200" dirty="0">
              <a:latin typeface="+mn-lt"/>
            </a:rPr>
            <a:t>M05L02Lab01 - Monitoring Query Performance using Query Performance Insights (15)</a:t>
          </a:r>
        </a:p>
      </dsp:txBody>
      <dsp:txXfrm>
        <a:off x="19790" y="3977573"/>
        <a:ext cx="11002711" cy="365825"/>
      </dsp:txXfrm>
    </dsp:sp>
    <dsp:sp modelId="{29375FCF-EC01-468F-99B7-A3E252631BC3}">
      <dsp:nvSpPr>
        <dsp:cNvPr id="0" name=""/>
        <dsp:cNvSpPr/>
      </dsp:nvSpPr>
      <dsp:spPr>
        <a:xfrm>
          <a:off x="0" y="4394868"/>
          <a:ext cx="11042291" cy="405405"/>
        </a:xfrm>
        <a:prstGeom prst="roundRect">
          <a:avLst/>
        </a:prstGeom>
        <a:solidFill>
          <a:schemeClr val="accent5">
            <a:lumMod val="60000"/>
            <a:lumOff val="4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i="0" kern="1200" dirty="0">
              <a:latin typeface="+mn-lt"/>
            </a:rPr>
            <a:t>M05L05Lab01 - Monitoring Azure SQL Database Performance using Extended Events (10)</a:t>
          </a:r>
        </a:p>
      </dsp:txBody>
      <dsp:txXfrm>
        <a:off x="19790" y="4414658"/>
        <a:ext cx="11002711" cy="365825"/>
      </dsp:txXfrm>
    </dsp:sp>
    <dsp:sp modelId="{875B2473-9BD5-4A38-94B0-7CDA3FEDE6B2}">
      <dsp:nvSpPr>
        <dsp:cNvPr id="0" name=""/>
        <dsp:cNvSpPr/>
      </dsp:nvSpPr>
      <dsp:spPr>
        <a:xfrm>
          <a:off x="0" y="4831953"/>
          <a:ext cx="11042291" cy="405405"/>
        </a:xfrm>
        <a:prstGeom prst="roundRect">
          <a:avLst/>
        </a:prstGeom>
        <a:solidFill>
          <a:schemeClr val="accent5">
            <a:lumMod val="60000"/>
            <a:lumOff val="4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i="0" kern="1200" dirty="0">
              <a:latin typeface="+mn-lt"/>
            </a:rPr>
            <a:t>M06L05Lab01 - Migrate a Compatible SQL Server Database to Azure SQL Database (30)</a:t>
          </a:r>
        </a:p>
      </dsp:txBody>
      <dsp:txXfrm>
        <a:off x="19790" y="4851743"/>
        <a:ext cx="11002711" cy="365825"/>
      </dsp:txXfrm>
    </dsp:sp>
    <dsp:sp modelId="{5C36FA82-5DD8-44F2-91CE-A68E5AC4D828}">
      <dsp:nvSpPr>
        <dsp:cNvPr id="0" name=""/>
        <dsp:cNvSpPr/>
      </dsp:nvSpPr>
      <dsp:spPr>
        <a:xfrm>
          <a:off x="0" y="5269038"/>
          <a:ext cx="11042291" cy="405405"/>
        </a:xfrm>
        <a:prstGeom prst="roundRect">
          <a:avLst/>
        </a:prstGeom>
        <a:solidFill>
          <a:schemeClr val="accent5">
            <a:lumMod val="60000"/>
            <a:lumOff val="4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i="0" kern="1200" dirty="0">
              <a:latin typeface="+mn-lt"/>
            </a:rPr>
            <a:t>M06L06Lab01 - Azure SQL Data Sync (20)</a:t>
          </a:r>
        </a:p>
      </dsp:txBody>
      <dsp:txXfrm>
        <a:off x="19790" y="5288828"/>
        <a:ext cx="11002711" cy="365825"/>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2B6EDB-C6F9-41E1-B03D-648E06A35A97}">
      <dsp:nvSpPr>
        <dsp:cNvPr id="0" name=""/>
        <dsp:cNvSpPr/>
      </dsp:nvSpPr>
      <dsp:spPr>
        <a:xfrm>
          <a:off x="0" y="348082"/>
          <a:ext cx="10880725" cy="779625"/>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74904" rIns="844465" bIns="128016" numCol="1" spcCol="1270" anchor="t" anchorCtr="0">
          <a:noAutofit/>
        </a:bodyPr>
        <a:lstStyle/>
        <a:p>
          <a:pPr marL="171450" lvl="1" indent="-171450" algn="l" defTabSz="800100">
            <a:lnSpc>
              <a:spcPct val="90000"/>
            </a:lnSpc>
            <a:spcBef>
              <a:spcPct val="0"/>
            </a:spcBef>
            <a:spcAft>
              <a:spcPct val="15000"/>
            </a:spcAft>
            <a:buChar char="•"/>
          </a:pPr>
          <a:r>
            <a:rPr lang="de-DE" sz="1800" kern="1200" dirty="0"/>
            <a:t>The classroom will be setup through a Teams meeting</a:t>
          </a:r>
        </a:p>
      </dsp:txBody>
      <dsp:txXfrm>
        <a:off x="0" y="348082"/>
        <a:ext cx="10880725" cy="779625"/>
      </dsp:txXfrm>
    </dsp:sp>
    <dsp:sp modelId="{132E74A8-7ACF-4CF4-B7FA-BB49A18243D6}">
      <dsp:nvSpPr>
        <dsp:cNvPr id="0" name=""/>
        <dsp:cNvSpPr/>
      </dsp:nvSpPr>
      <dsp:spPr>
        <a:xfrm>
          <a:off x="544036" y="82402"/>
          <a:ext cx="7616507" cy="531360"/>
        </a:xfrm>
        <a:prstGeom prst="roundRect">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de-DE" sz="1800" kern="1200" dirty="0"/>
            <a:t>The training key is only need to perform the virtual labs.</a:t>
          </a:r>
        </a:p>
      </dsp:txBody>
      <dsp:txXfrm>
        <a:off x="569975" y="108341"/>
        <a:ext cx="7564629" cy="479482"/>
      </dsp:txXfrm>
    </dsp:sp>
    <dsp:sp modelId="{D028D949-8AD3-4714-9B8B-50DEEB9D8C57}">
      <dsp:nvSpPr>
        <dsp:cNvPr id="0" name=""/>
        <dsp:cNvSpPr/>
      </dsp:nvSpPr>
      <dsp:spPr>
        <a:xfrm>
          <a:off x="0" y="1490587"/>
          <a:ext cx="10880725" cy="779625"/>
        </a:xfrm>
        <a:prstGeom prst="rect">
          <a:avLst/>
        </a:prstGeom>
        <a:solidFill>
          <a:schemeClr val="lt1">
            <a:alpha val="90000"/>
            <a:hueOff val="0"/>
            <a:satOff val="0"/>
            <a:lumOff val="0"/>
            <a:alphaOff val="0"/>
          </a:schemeClr>
        </a:solidFill>
        <a:ln w="12700" cap="flat" cmpd="sng" algn="ctr">
          <a:solidFill>
            <a:schemeClr val="accent4">
              <a:hueOff val="2844003"/>
              <a:satOff val="-10284"/>
              <a:lumOff val="1006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74904"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hlinkClick xmlns:r="http://schemas.openxmlformats.org/officeDocument/2006/relationships" r:id="rId1"/>
            </a:rPr>
            <a:t>https://aka.ms/LearningCampus</a:t>
          </a:r>
          <a:endParaRPr lang="de-DE" sz="1800" kern="1200" dirty="0"/>
        </a:p>
      </dsp:txBody>
      <dsp:txXfrm>
        <a:off x="0" y="1490587"/>
        <a:ext cx="10880725" cy="779625"/>
      </dsp:txXfrm>
    </dsp:sp>
    <dsp:sp modelId="{67E684CD-56FC-4B3B-B6CE-057D27358856}">
      <dsp:nvSpPr>
        <dsp:cNvPr id="0" name=""/>
        <dsp:cNvSpPr/>
      </dsp:nvSpPr>
      <dsp:spPr>
        <a:xfrm>
          <a:off x="544036" y="1224907"/>
          <a:ext cx="7616507" cy="531360"/>
        </a:xfrm>
        <a:prstGeom prst="roundRect">
          <a:avLst/>
        </a:prstGeom>
        <a:solidFill>
          <a:schemeClr val="accent4">
            <a:hueOff val="2844003"/>
            <a:satOff val="-10284"/>
            <a:lumOff val="10066"/>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dirty="0"/>
            <a:t>Using a web browser.</a:t>
          </a:r>
          <a:endParaRPr lang="de-DE" sz="1800" kern="1200" dirty="0"/>
        </a:p>
      </dsp:txBody>
      <dsp:txXfrm>
        <a:off x="569975" y="1250846"/>
        <a:ext cx="7564629" cy="479482"/>
      </dsp:txXfrm>
    </dsp:sp>
    <dsp:sp modelId="{9B678406-9F39-4991-89F4-2A45548A9AA6}">
      <dsp:nvSpPr>
        <dsp:cNvPr id="0" name=""/>
        <dsp:cNvSpPr/>
      </dsp:nvSpPr>
      <dsp:spPr>
        <a:xfrm>
          <a:off x="0" y="2633093"/>
          <a:ext cx="10880725" cy="1105650"/>
        </a:xfrm>
        <a:prstGeom prst="rect">
          <a:avLst/>
        </a:prstGeom>
        <a:solidFill>
          <a:schemeClr val="lt1">
            <a:alpha val="90000"/>
            <a:hueOff val="0"/>
            <a:satOff val="0"/>
            <a:lumOff val="0"/>
            <a:alphaOff val="0"/>
          </a:schemeClr>
        </a:solidFill>
        <a:ln w="12700" cap="flat" cmpd="sng" algn="ctr">
          <a:solidFill>
            <a:schemeClr val="accent4">
              <a:hueOff val="5688007"/>
              <a:satOff val="-20568"/>
              <a:lumOff val="2013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74904"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Microsoft Account (Live ID)</a:t>
          </a:r>
          <a:endParaRPr lang="de-DE" sz="1800" kern="1200" dirty="0"/>
        </a:p>
        <a:p>
          <a:pPr marL="171450" lvl="1" indent="-171450" algn="l" defTabSz="800100">
            <a:lnSpc>
              <a:spcPct val="90000"/>
            </a:lnSpc>
            <a:spcBef>
              <a:spcPct val="0"/>
            </a:spcBef>
            <a:spcAft>
              <a:spcPct val="15000"/>
            </a:spcAft>
            <a:buChar char="•"/>
          </a:pPr>
          <a:r>
            <a:rPr lang="en-US" sz="1800" kern="1200" dirty="0"/>
            <a:t>If you do not have one, then create it here: </a:t>
          </a:r>
          <a:r>
            <a:rPr lang="de-DE" sz="1800" kern="1200" dirty="0">
              <a:hlinkClick xmlns:r="http://schemas.openxmlformats.org/officeDocument/2006/relationships" r:id="rId2"/>
            </a:rPr>
            <a:t>http://live.com</a:t>
          </a:r>
          <a:endParaRPr lang="de-DE" sz="1800" kern="1200" dirty="0"/>
        </a:p>
      </dsp:txBody>
      <dsp:txXfrm>
        <a:off x="0" y="2633093"/>
        <a:ext cx="10880725" cy="1105650"/>
      </dsp:txXfrm>
    </dsp:sp>
    <dsp:sp modelId="{98375FEB-012C-4598-928B-2E77583DA760}">
      <dsp:nvSpPr>
        <dsp:cNvPr id="0" name=""/>
        <dsp:cNvSpPr/>
      </dsp:nvSpPr>
      <dsp:spPr>
        <a:xfrm>
          <a:off x="544036" y="2367413"/>
          <a:ext cx="7616507" cy="531360"/>
        </a:xfrm>
        <a:prstGeom prst="roundRect">
          <a:avLst/>
        </a:prstGeom>
        <a:solidFill>
          <a:schemeClr val="accent4">
            <a:hueOff val="5688007"/>
            <a:satOff val="-20568"/>
            <a:lumOff val="20131"/>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dirty="0"/>
            <a:t>Sign in with your Microsoft account not Corporate AD account</a:t>
          </a:r>
          <a:endParaRPr lang="de-DE" sz="1800" kern="1200" dirty="0"/>
        </a:p>
      </dsp:txBody>
      <dsp:txXfrm>
        <a:off x="569975" y="2393352"/>
        <a:ext cx="7564629" cy="479482"/>
      </dsp:txXfrm>
    </dsp:sp>
    <dsp:sp modelId="{A97C25CE-D475-4EF3-81B1-959DF49D5E41}">
      <dsp:nvSpPr>
        <dsp:cNvPr id="0" name=""/>
        <dsp:cNvSpPr/>
      </dsp:nvSpPr>
      <dsp:spPr>
        <a:xfrm>
          <a:off x="0" y="4101623"/>
          <a:ext cx="10880725" cy="1417500"/>
        </a:xfrm>
        <a:prstGeom prst="rect">
          <a:avLst/>
        </a:prstGeom>
        <a:solidFill>
          <a:schemeClr val="lt1">
            <a:alpha val="90000"/>
            <a:hueOff val="0"/>
            <a:satOff val="0"/>
            <a:lumOff val="0"/>
            <a:alphaOff val="0"/>
          </a:schemeClr>
        </a:solidFill>
        <a:ln w="12700" cap="flat" cmpd="sng" algn="ctr">
          <a:solidFill>
            <a:schemeClr val="accent4">
              <a:hueOff val="8532010"/>
              <a:satOff val="-30852"/>
              <a:lumOff val="3019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74904"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WorkshopPLUS -&gt;  My Training (Select at the top)</a:t>
          </a:r>
          <a:endParaRPr lang="de-DE" sz="1800" kern="1200" dirty="0"/>
        </a:p>
        <a:p>
          <a:pPr marL="171450" lvl="1" indent="-171450" algn="l" defTabSz="800100">
            <a:lnSpc>
              <a:spcPct val="90000"/>
            </a:lnSpc>
            <a:spcBef>
              <a:spcPct val="0"/>
            </a:spcBef>
            <a:spcAft>
              <a:spcPct val="15000"/>
            </a:spcAft>
            <a:buChar char="•"/>
          </a:pPr>
          <a:r>
            <a:rPr lang="de-DE" sz="1800" kern="1200" dirty="0"/>
            <a:t>Select Redeem Training Key</a:t>
          </a:r>
        </a:p>
        <a:p>
          <a:pPr marL="171450" lvl="1" indent="-171450" algn="l" defTabSz="800100">
            <a:lnSpc>
              <a:spcPct val="90000"/>
            </a:lnSpc>
            <a:spcBef>
              <a:spcPct val="0"/>
            </a:spcBef>
            <a:spcAft>
              <a:spcPct val="15000"/>
            </a:spcAft>
            <a:buChar char="•"/>
          </a:pPr>
          <a:r>
            <a:rPr lang="de-DE" sz="1800" kern="1200" dirty="0"/>
            <a:t>Enter Training Key</a:t>
          </a:r>
        </a:p>
      </dsp:txBody>
      <dsp:txXfrm>
        <a:off x="0" y="4101623"/>
        <a:ext cx="10880725" cy="1417500"/>
      </dsp:txXfrm>
    </dsp:sp>
    <dsp:sp modelId="{3CBFEC53-318C-40A5-85BA-8989391591A7}">
      <dsp:nvSpPr>
        <dsp:cNvPr id="0" name=""/>
        <dsp:cNvSpPr/>
      </dsp:nvSpPr>
      <dsp:spPr>
        <a:xfrm>
          <a:off x="544036" y="3835943"/>
          <a:ext cx="7616507" cy="531360"/>
        </a:xfrm>
        <a:prstGeom prst="roundRect">
          <a:avLst/>
        </a:prstGeom>
        <a:solidFill>
          <a:schemeClr val="accent1">
            <a:lumMod val="5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de-DE" sz="1800" kern="1200" dirty="0"/>
            <a:t>Training Key</a:t>
          </a:r>
        </a:p>
      </dsp:txBody>
      <dsp:txXfrm>
        <a:off x="569975" y="3861882"/>
        <a:ext cx="7564629" cy="479482"/>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A22D87-72E9-4308-96F6-375841B6866D}" type="datetimeFigureOut">
              <a:rPr lang="en-US"/>
              <a:t>2/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405CA6-A7A9-4E0F-8672-28CF28CC7700}" type="slidenum">
              <a:rPr lang="en-US"/>
              <a:t>‹#›</a:t>
            </a:fld>
            <a:endParaRPr lang="en-US"/>
          </a:p>
        </p:txBody>
      </p:sp>
    </p:spTree>
    <p:extLst>
      <p:ext uri="{BB962C8B-B14F-4D97-AF65-F5344CB8AC3E}">
        <p14:creationId xmlns:p14="http://schemas.microsoft.com/office/powerpoint/2010/main" val="71150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B4008EB6-D09E-4580-8CD6-DDB14511944F}" type="slidenum">
              <a:rPr lang="en-US"/>
              <a:pPr/>
              <a:t>1</a:t>
            </a:fld>
            <a:endParaRPr lang="en-US"/>
          </a:p>
        </p:txBody>
      </p:sp>
      <p:sp>
        <p:nvSpPr>
          <p:cNvPr id="3" name="Date Placeholder 2">
            <a:extLst>
              <a:ext uri="{FF2B5EF4-FFF2-40B4-BE49-F238E27FC236}">
                <a16:creationId xmlns:a16="http://schemas.microsoft.com/office/drawing/2014/main" id="{C7C19F77-53A8-4FB6-AC8D-EB465917D2AF}"/>
              </a:ext>
            </a:extLst>
          </p:cNvPr>
          <p:cNvSpPr>
            <a:spLocks noGrp="1"/>
          </p:cNvSpPr>
          <p:nvPr>
            <p:ph type="dt" idx="15"/>
          </p:nvPr>
        </p:nvSpPr>
        <p:spPr/>
        <p:txBody>
          <a:bodyPr/>
          <a:lstStyle/>
          <a:p>
            <a:fld id="{8AC84295-5BF3-4C0D-B900-059CC5DD0EBB}" type="datetime1">
              <a:rPr lang="en-US"/>
              <a:t>2/7/2022</a:t>
            </a:fld>
            <a:endParaRPr lang="en-US"/>
          </a:p>
        </p:txBody>
      </p:sp>
      <p:sp>
        <p:nvSpPr>
          <p:cNvPr id="8" name="Slide Image Placeholder 7">
            <a:extLst>
              <a:ext uri="{FF2B5EF4-FFF2-40B4-BE49-F238E27FC236}">
                <a16:creationId xmlns:a16="http://schemas.microsoft.com/office/drawing/2014/main" id="{7734A72D-49FF-42A5-863D-B6D217905E7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63C66B90-D656-4E49-9C08-763AD9938646}"/>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380E7524-C736-4DF6-AE9E-280A6C63AA6D}"/>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7026916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4EBC20-BA13-4080-8FB6-591972FDA3AE}"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85083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aka.ms/premiereducation  redirects to https://mslearningcampus.com/User/Login?ReturnUrl=%2f</a:t>
            </a:r>
          </a:p>
          <a:p>
            <a:r>
              <a:rPr lang="en-US"/>
              <a:t>##########</a:t>
            </a:r>
          </a:p>
          <a:p>
            <a:endParaRPr lang="en-US"/>
          </a:p>
        </p:txBody>
      </p:sp>
      <p:sp>
        <p:nvSpPr>
          <p:cNvPr id="4" name="Slide Number Placeholder 3"/>
          <p:cNvSpPr>
            <a:spLocks noGrp="1"/>
          </p:cNvSpPr>
          <p:nvPr>
            <p:ph type="sldNum" sz="quarter" idx="10"/>
          </p:nvPr>
        </p:nvSpPr>
        <p:spPr/>
        <p:txBody>
          <a:bodyPr/>
          <a:lstStyle/>
          <a:p>
            <a:fld id="{F475C4C8-7DEA-455A-9336-A4C7DB3AE516}" type="slidenum">
              <a:rPr lang="en-US"/>
              <a:pPr/>
              <a:t>12</a:t>
            </a:fld>
            <a:endParaRPr lang="en-US"/>
          </a:p>
        </p:txBody>
      </p:sp>
      <p:sp>
        <p:nvSpPr>
          <p:cNvPr id="5" name="Date Placeholder 4"/>
          <p:cNvSpPr>
            <a:spLocks noGrp="1"/>
          </p:cNvSpPr>
          <p:nvPr>
            <p:ph type="dt" idx="11"/>
          </p:nvPr>
        </p:nvSpPr>
        <p:spPr/>
        <p:txBody>
          <a:bodyPr/>
          <a:lstStyle/>
          <a:p>
            <a:fld id="{D94EBC20-BA13-4080-8FB6-591972FDA3AE}" type="datetime1">
              <a:rPr lang="en-US"/>
              <a:pPr/>
              <a:t>2/7/2022</a:t>
            </a:fld>
            <a:endParaRPr lang="en-US"/>
          </a:p>
        </p:txBody>
      </p:sp>
    </p:spTree>
    <p:extLst>
      <p:ext uri="{BB962C8B-B14F-4D97-AF65-F5344CB8AC3E}">
        <p14:creationId xmlns:p14="http://schemas.microsoft.com/office/powerpoint/2010/main" val="38767826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475C4C8-7DEA-455A-9336-A4C7DB3AE516}" type="slidenum">
              <a:rPr lang="en-US"/>
              <a:pPr/>
              <a:t>13</a:t>
            </a:fld>
            <a:endParaRPr lang="en-US"/>
          </a:p>
        </p:txBody>
      </p:sp>
      <p:sp>
        <p:nvSpPr>
          <p:cNvPr id="5" name="Date Placeholder 4"/>
          <p:cNvSpPr>
            <a:spLocks noGrp="1"/>
          </p:cNvSpPr>
          <p:nvPr>
            <p:ph type="dt" idx="11"/>
          </p:nvPr>
        </p:nvSpPr>
        <p:spPr/>
        <p:txBody>
          <a:bodyPr/>
          <a:lstStyle/>
          <a:p>
            <a:fld id="{D94EBC20-BA13-4080-8FB6-591972FDA3AE}" type="datetime1">
              <a:rPr lang="en-US"/>
              <a:pPr/>
              <a:t>2/7/2022</a:t>
            </a:fld>
            <a:endParaRPr lang="en-US"/>
          </a:p>
        </p:txBody>
      </p:sp>
    </p:spTree>
    <p:extLst>
      <p:ext uri="{BB962C8B-B14F-4D97-AF65-F5344CB8AC3E}">
        <p14:creationId xmlns:p14="http://schemas.microsoft.com/office/powerpoint/2010/main" val="41327293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475C4C8-7DEA-455A-9336-A4C7DB3AE516}" type="slidenum">
              <a:rPr lang="en-US"/>
              <a:pPr/>
              <a:t>14</a:t>
            </a:fld>
            <a:endParaRPr lang="en-US"/>
          </a:p>
        </p:txBody>
      </p:sp>
      <p:sp>
        <p:nvSpPr>
          <p:cNvPr id="5" name="Date Placeholder 4"/>
          <p:cNvSpPr>
            <a:spLocks noGrp="1"/>
          </p:cNvSpPr>
          <p:nvPr>
            <p:ph type="dt" idx="11"/>
          </p:nvPr>
        </p:nvSpPr>
        <p:spPr/>
        <p:txBody>
          <a:bodyPr/>
          <a:lstStyle/>
          <a:p>
            <a:fld id="{D94EBC20-BA13-4080-8FB6-591972FDA3AE}" type="datetime1">
              <a:rPr lang="en-US"/>
              <a:pPr/>
              <a:t>2/7/2022</a:t>
            </a:fld>
            <a:endParaRPr lang="en-US"/>
          </a:p>
        </p:txBody>
      </p:sp>
    </p:spTree>
    <p:extLst>
      <p:ext uri="{BB962C8B-B14F-4D97-AF65-F5344CB8AC3E}">
        <p14:creationId xmlns:p14="http://schemas.microsoft.com/office/powerpoint/2010/main" val="20333330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475C4C8-7DEA-455A-9336-A4C7DB3AE516}" type="slidenum">
              <a:rPr lang="en-US"/>
              <a:pPr/>
              <a:t>15</a:t>
            </a:fld>
            <a:endParaRPr lang="en-US"/>
          </a:p>
        </p:txBody>
      </p:sp>
      <p:sp>
        <p:nvSpPr>
          <p:cNvPr id="5" name="Date Placeholder 4"/>
          <p:cNvSpPr>
            <a:spLocks noGrp="1"/>
          </p:cNvSpPr>
          <p:nvPr>
            <p:ph type="dt" idx="11"/>
          </p:nvPr>
        </p:nvSpPr>
        <p:spPr/>
        <p:txBody>
          <a:bodyPr/>
          <a:lstStyle/>
          <a:p>
            <a:fld id="{D94EBC20-BA13-4080-8FB6-591972FDA3AE}" type="datetime1">
              <a:rPr lang="en-US"/>
              <a:pPr/>
              <a:t>2/7/2022</a:t>
            </a:fld>
            <a:endParaRPr lang="en-US"/>
          </a:p>
        </p:txBody>
      </p:sp>
    </p:spTree>
    <p:extLst>
      <p:ext uri="{BB962C8B-B14F-4D97-AF65-F5344CB8AC3E}">
        <p14:creationId xmlns:p14="http://schemas.microsoft.com/office/powerpoint/2010/main" val="41553401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0405CA6-A7A9-4E0F-8672-28CF28CC7700}" type="slidenum">
              <a:rPr lang="en-US" smtClean="0"/>
              <a:t>16</a:t>
            </a:fld>
            <a:endParaRPr lang="en-US"/>
          </a:p>
        </p:txBody>
      </p:sp>
    </p:spTree>
    <p:extLst>
      <p:ext uri="{BB962C8B-B14F-4D97-AF65-F5344CB8AC3E}">
        <p14:creationId xmlns:p14="http://schemas.microsoft.com/office/powerpoint/2010/main" val="29293750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0"/>
          </p:nvPr>
        </p:nvSpPr>
        <p:spPr/>
        <p:txBody>
          <a:bodyPr/>
          <a:lstStyle/>
          <a:p>
            <a:pPr lvl="0"/>
            <a:fld id="{597F6B16-CB15-433B-8368-B66F1F29E3BC}" type="datetime1">
              <a:rPr lang="en-US" noProof="0"/>
              <a:t>2/7/2022</a:t>
            </a:fld>
            <a:endParaRPr lang="en-US" noProof="0"/>
          </a:p>
        </p:txBody>
      </p:sp>
      <p:sp>
        <p:nvSpPr>
          <p:cNvPr id="7" name="Slide Number Placeholder 6"/>
          <p:cNvSpPr>
            <a:spLocks noGrp="1"/>
          </p:cNvSpPr>
          <p:nvPr>
            <p:ph type="sldNum" sz="quarter" idx="12"/>
          </p:nvPr>
        </p:nvSpPr>
        <p:spPr/>
        <p:txBody>
          <a:bodyPr/>
          <a:lstStyle/>
          <a:p>
            <a:pPr lvl="0"/>
            <a:fld id="{8B263312-38AA-4E1E-B2B5-0F8F122B24FE}" type="slidenum">
              <a:rPr lang="en-US" noProof="0"/>
              <a:pPr lvl="0"/>
              <a:t>17</a:t>
            </a:fld>
            <a:endParaRPr lang="en-US" noProof="0"/>
          </a:p>
        </p:txBody>
      </p:sp>
      <p:sp>
        <p:nvSpPr>
          <p:cNvPr id="12" name="Slide Image Placeholder 11">
            <a:extLst>
              <a:ext uri="{FF2B5EF4-FFF2-40B4-BE49-F238E27FC236}">
                <a16:creationId xmlns:a16="http://schemas.microsoft.com/office/drawing/2014/main" id="{EB31DD26-6ADF-4FCA-AA9F-50688B90C6FC}"/>
              </a:ext>
            </a:extLst>
          </p:cNvPr>
          <p:cNvSpPr>
            <a:spLocks noGrp="1" noRot="1" noChangeAspect="1"/>
          </p:cNvSpPr>
          <p:nvPr>
            <p:ph type="sldImg"/>
          </p:nvPr>
        </p:nvSpPr>
        <p:spPr/>
      </p:sp>
      <p:sp>
        <p:nvSpPr>
          <p:cNvPr id="13" name="Notes Placeholder 12">
            <a:extLst>
              <a:ext uri="{FF2B5EF4-FFF2-40B4-BE49-F238E27FC236}">
                <a16:creationId xmlns:a16="http://schemas.microsoft.com/office/drawing/2014/main" id="{DC9BC269-5CA0-4FD4-A9C3-B63A61288F3F}"/>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2" name="Header Placeholder 1">
            <a:extLst>
              <a:ext uri="{FF2B5EF4-FFF2-40B4-BE49-F238E27FC236}">
                <a16:creationId xmlns:a16="http://schemas.microsoft.com/office/drawing/2014/main" id="{15E700E7-D098-4358-9C81-9A01706B103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1387919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18</a:t>
            </a:fld>
            <a:endParaRPr lang="en-US"/>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fld id="{6D50A064-0189-4F17-A351-AA3748785BA8}" type="datetime1">
              <a:rPr lang="en-US"/>
              <a:t>2/7/2022</a:t>
            </a:fld>
            <a:endParaRPr lang="en-US"/>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9348239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87899-B757-42DD-BFAC-FD8FB9602085}"/>
              </a:ext>
            </a:extLst>
          </p:cNvPr>
          <p:cNvSpPr>
            <a:spLocks noGrp="1"/>
          </p:cNvSpPr>
          <p:nvPr>
            <p:ph type="sldNum" sz="quarter" idx="10"/>
          </p:nvPr>
        </p:nvSpPr>
        <p:spPr/>
        <p:txBody>
          <a:bodyPr/>
          <a:lstStyle/>
          <a:p>
            <a:fld id="{F475C4C8-7DEA-455A-9336-A4C7DB3AE516}" type="slidenum">
              <a:rPr lang="en-US"/>
              <a:pPr/>
              <a:t>2</a:t>
            </a:fld>
            <a:endParaRPr lang="en-US"/>
          </a:p>
        </p:txBody>
      </p:sp>
      <p:sp>
        <p:nvSpPr>
          <p:cNvPr id="3" name="Date Placeholder 2">
            <a:extLst>
              <a:ext uri="{FF2B5EF4-FFF2-40B4-BE49-F238E27FC236}">
                <a16:creationId xmlns:a16="http://schemas.microsoft.com/office/drawing/2014/main" id="{2A3279EF-EF08-4E77-A509-F922EC61A8AC}"/>
              </a:ext>
            </a:extLst>
          </p:cNvPr>
          <p:cNvSpPr>
            <a:spLocks noGrp="1"/>
          </p:cNvSpPr>
          <p:nvPr>
            <p:ph type="dt" idx="12"/>
          </p:nvPr>
        </p:nvSpPr>
        <p:spPr/>
        <p:txBody>
          <a:bodyPr/>
          <a:lstStyle/>
          <a:p>
            <a:fld id="{DB0F5A79-03C7-4F04-B936-1D8348BF7B8D}" type="datetime1">
              <a:rPr lang="en-US"/>
              <a:t>2/7/2022</a:t>
            </a:fld>
            <a:endParaRPr lang="en-US"/>
          </a:p>
        </p:txBody>
      </p:sp>
      <p:sp>
        <p:nvSpPr>
          <p:cNvPr id="10" name="Slide Image Placeholder 9">
            <a:extLst>
              <a:ext uri="{FF2B5EF4-FFF2-40B4-BE49-F238E27FC236}">
                <a16:creationId xmlns:a16="http://schemas.microsoft.com/office/drawing/2014/main" id="{71623331-4C35-4EFF-9868-F85DF8DB4AA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D4BB9EA6-88F5-449F-9E36-08AD1C866DB2}"/>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1B5D50AE-A09E-4DDD-9B13-A2619C0E3244}"/>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748665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41FDD-8042-47BF-BC78-27CF63030A3D}"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00790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0405CA6-A7A9-4E0F-8672-28CF28CC7700}" type="slidenum">
              <a:rPr lang="en-US" smtClean="0"/>
              <a:t>4</a:t>
            </a:fld>
            <a:endParaRPr lang="en-US"/>
          </a:p>
        </p:txBody>
      </p:sp>
    </p:spTree>
    <p:extLst>
      <p:ext uri="{BB962C8B-B14F-4D97-AF65-F5344CB8AC3E}">
        <p14:creationId xmlns:p14="http://schemas.microsoft.com/office/powerpoint/2010/main" val="10516770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5</a:t>
            </a:fld>
            <a:endParaRPr lang="en-US"/>
          </a:p>
        </p:txBody>
      </p:sp>
      <p:sp>
        <p:nvSpPr>
          <p:cNvPr id="6" name="Date Placeholder 5">
            <a:extLst>
              <a:ext uri="{FF2B5EF4-FFF2-40B4-BE49-F238E27FC236}">
                <a16:creationId xmlns:a16="http://schemas.microsoft.com/office/drawing/2014/main" id="{A32C1067-6CE8-4F67-A28A-51C037D7902B}"/>
              </a:ext>
            </a:extLst>
          </p:cNvPr>
          <p:cNvSpPr>
            <a:spLocks noGrp="1"/>
          </p:cNvSpPr>
          <p:nvPr>
            <p:ph type="dt" idx="12"/>
          </p:nvPr>
        </p:nvSpPr>
        <p:spPr/>
        <p:txBody>
          <a:bodyPr/>
          <a:lstStyle/>
          <a:p>
            <a:fld id="{CF37FA8A-13BA-468F-892F-536F595D69D7}" type="datetime1">
              <a:rPr lang="en-US"/>
              <a:t>2/7/2022</a:t>
            </a:fld>
            <a:endParaRPr lang="en-US"/>
          </a:p>
        </p:txBody>
      </p:sp>
      <p:sp>
        <p:nvSpPr>
          <p:cNvPr id="10" name="Slide Image Placeholder 9">
            <a:extLst>
              <a:ext uri="{FF2B5EF4-FFF2-40B4-BE49-F238E27FC236}">
                <a16:creationId xmlns:a16="http://schemas.microsoft.com/office/drawing/2014/main" id="{18197B06-F564-4F80-A531-76A029D35D98}"/>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415370B0-F9BD-4409-91DE-7DE889F0E47B}"/>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2" name="Header Placeholder 1">
            <a:extLst>
              <a:ext uri="{FF2B5EF4-FFF2-40B4-BE49-F238E27FC236}">
                <a16:creationId xmlns:a16="http://schemas.microsoft.com/office/drawing/2014/main" id="{8DB33C8B-0130-4108-A0A2-E0DD267AA668}"/>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1871488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332D0D-0B88-4145-BA87-D8794E01DBC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5100718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332D0D-0B88-4145-BA87-D8794E01DBC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9855196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332D0D-0B88-4145-BA87-D8794E01DBC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9020225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BA20BE-83F3-44E5-B1C9-990B263B9B87}"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Slide Image Placeholder 11">
            <a:extLst>
              <a:ext uri="{FF2B5EF4-FFF2-40B4-BE49-F238E27FC236}">
                <a16:creationId xmlns:a16="http://schemas.microsoft.com/office/drawing/2014/main" id="{73676507-BE34-4B0B-876C-2A8832468332}"/>
              </a:ext>
            </a:extLst>
          </p:cNvPr>
          <p:cNvSpPr>
            <a:spLocks noGrp="1" noRot="1" noChangeAspect="1"/>
          </p:cNvSpPr>
          <p:nvPr>
            <p:ph type="sldImg"/>
          </p:nvPr>
        </p:nvSpPr>
        <p:spPr/>
      </p:sp>
      <p:sp>
        <p:nvSpPr>
          <p:cNvPr id="13" name="Notes Placeholder 12">
            <a:extLst>
              <a:ext uri="{FF2B5EF4-FFF2-40B4-BE49-F238E27FC236}">
                <a16:creationId xmlns:a16="http://schemas.microsoft.com/office/drawing/2014/main" id="{47083482-51EE-4241-A3E3-AB61B8B2168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2" name="Header Placeholder 1">
            <a:extLst>
              <a:ext uri="{FF2B5EF4-FFF2-40B4-BE49-F238E27FC236}">
                <a16:creationId xmlns:a16="http://schemas.microsoft.com/office/drawing/2014/main" id="{190946C6-695D-4CE2-8699-691A494B797E}"/>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21542457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35453452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079772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78763033"/>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050898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757103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43273815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571973224"/>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017241431"/>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88510027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615635194"/>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1030067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3873207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67806936"/>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622832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25399896"/>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54204857"/>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475374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19571068"/>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0924085"/>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6030588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9991455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896336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835463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81469918"/>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7193247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9982725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1670883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09848158"/>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33803398"/>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48741369"/>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04095200"/>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58195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658959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886743771"/>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592118"/>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145681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707003190"/>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007481172"/>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06495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5">
            <a:extLst>
              <a:ext uri="{FF2B5EF4-FFF2-40B4-BE49-F238E27FC236}">
                <a16:creationId xmlns:a16="http://schemas.microsoft.com/office/drawing/2014/main" id="{B97B15E4-CDBA-4931-BA44-2308C213F725}"/>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84407157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4">
                    <a:lumMod val="50000"/>
                  </a:schemeClr>
                </a:solidFill>
              </a:defRPr>
            </a:lvl1pPr>
          </a:lstStyle>
          <a:p>
            <a:r>
              <a:rPr lang="en-US" dirty="0"/>
              <a:t>Click to edit Master title style</a:t>
            </a:r>
          </a:p>
        </p:txBody>
      </p:sp>
    </p:spTree>
    <p:extLst>
      <p:ext uri="{BB962C8B-B14F-4D97-AF65-F5344CB8AC3E}">
        <p14:creationId xmlns:p14="http://schemas.microsoft.com/office/powerpoint/2010/main" val="40450255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B7899E10-A5AD-4F10-B12D-0B5A23C4BFEA}"/>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89905272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4BAEA856-D6E1-42A4-9356-6BE13B26CF23}" type="datetimeFigureOut">
              <a:rPr lang="en-US" smtClean="0">
                <a:solidFill>
                  <a:prstClr val="black">
                    <a:tint val="75000"/>
                  </a:prstClr>
                </a:solidFill>
              </a:rPr>
              <a:pPr/>
              <a:t>2/7/2022</a:t>
            </a:fld>
            <a:endParaRPr lang="en-US" dirty="0">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F85E53AC-C7F6-4C31-9180-F583D71E5207}" type="slidenum">
              <a:rPr lang="en-US" smtClean="0">
                <a:solidFill>
                  <a:prstClr val="black">
                    <a:tint val="75000"/>
                  </a:prstClr>
                </a:solidFill>
              </a:rPr>
              <a:pPr/>
              <a:t>‹#›</a:t>
            </a:fld>
            <a:endParaRPr lang="en-US" dirty="0">
              <a:solidFill>
                <a:prstClr val="black">
                  <a:tint val="75000"/>
                </a:prstClr>
              </a:solidFill>
            </a:endParaRPr>
          </a:p>
        </p:txBody>
      </p:sp>
      <p:sp>
        <p:nvSpPr>
          <p:cNvPr id="7" name="Title 5">
            <a:extLst>
              <a:ext uri="{FF2B5EF4-FFF2-40B4-BE49-F238E27FC236}">
                <a16:creationId xmlns:a16="http://schemas.microsoft.com/office/drawing/2014/main" id="{B358B76C-5071-47D4-9FDA-3D4BD8A3AF71}"/>
              </a:ext>
            </a:extLst>
          </p:cNvPr>
          <p:cNvSpPr txBox="1">
            <a:spLocks/>
          </p:cNvSpPr>
          <p:nvPr userDrawn="1"/>
        </p:nvSpPr>
        <p:spPr>
          <a:xfrm>
            <a:off x="269238" y="174885"/>
            <a:ext cx="10972800" cy="1143000"/>
          </a:xfrm>
          <a:prstGeom prst="rect">
            <a:avLst/>
          </a:prstGeom>
        </p:spPr>
        <p:txBody>
          <a:bodyPr vert="horz" lIns="91440" tIns="45720" rIns="91440" bIns="45720"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4400" b="0" i="0" u="none" strike="noStrike" kern="1200" cap="none" spc="0" normalizeH="0" baseline="0">
                <a:ln>
                  <a:noFill/>
                </a:ln>
                <a:solidFill>
                  <a:schemeClr val="accent4">
                    <a:lumMod val="50000"/>
                  </a:schemeClr>
                </a:solidFill>
                <a:effectLst/>
                <a:uLnTx/>
                <a:uFillTx/>
                <a:latin typeface="+mj-lt"/>
                <a:ea typeface="+mj-ea"/>
                <a:cs typeface="Segoe UI Light"/>
              </a:defRPr>
            </a:lvl1pPr>
          </a:lstStyle>
          <a:p>
            <a:r>
              <a:rPr lang="en-US"/>
              <a:t>Click to edit Master title style</a:t>
            </a:r>
            <a:endParaRPr lang="en-US" dirty="0"/>
          </a:p>
        </p:txBody>
      </p:sp>
    </p:spTree>
    <p:extLst>
      <p:ext uri="{BB962C8B-B14F-4D97-AF65-F5344CB8AC3E}">
        <p14:creationId xmlns:p14="http://schemas.microsoft.com/office/powerpoint/2010/main" val="14749793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Tree>
    <p:extLst>
      <p:ext uri="{BB962C8B-B14F-4D97-AF65-F5344CB8AC3E}">
        <p14:creationId xmlns:p14="http://schemas.microsoft.com/office/powerpoint/2010/main" val="21933601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1277184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8_Title Slide 3">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414" y="0"/>
            <a:ext cx="12448814" cy="6989885"/>
          </a:xfrm>
          <a:prstGeom prst="rect">
            <a:avLst/>
          </a:prstGeom>
        </p:spPr>
      </p:pic>
      <p:sp>
        <p:nvSpPr>
          <p:cNvPr id="10" name="Rectangle 9"/>
          <p:cNvSpPr/>
          <p:nvPr userDrawn="1"/>
        </p:nvSpPr>
        <p:spPr bwMode="auto">
          <a:xfrm>
            <a:off x="-104413" y="3"/>
            <a:ext cx="9286514" cy="6989882"/>
          </a:xfrm>
          <a:prstGeom prst="rect">
            <a:avLst/>
          </a:prstGeom>
          <a:gradFill flip="none" rotWithShape="1">
            <a:gsLst>
              <a:gs pos="64000">
                <a:schemeClr val="tx1">
                  <a:tint val="66000"/>
                  <a:satMod val="160000"/>
                  <a:lumMod val="100000"/>
                  <a:alpha val="0"/>
                </a:schemeClr>
              </a:gs>
              <a:gs pos="100000">
                <a:schemeClr val="tx1">
                  <a:alpha val="47000"/>
                </a:schemeClr>
              </a:gs>
            </a:gsLst>
            <a:path path="circle">
              <a:fillToRect l="100000" t="100000"/>
            </a:path>
            <a:tileRect r="-100000" b="-10000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0" rIns="0" bIns="46620" numCol="1" rtlCol="0" anchor="ctr" anchorCtr="0" compatLnSpc="1">
            <a:prstTxWarp prst="textNoShape">
              <a:avLst/>
            </a:prstTxWarp>
          </a:bodyPr>
          <a:lstStyle/>
          <a:p>
            <a:pPr algn="ctr" defTabSz="913666"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6" name="Rectangle 15"/>
          <p:cNvSpPr/>
          <p:nvPr userDrawn="1"/>
        </p:nvSpPr>
        <p:spPr bwMode="auto">
          <a:xfrm>
            <a:off x="22352" y="1350387"/>
            <a:ext cx="12206593" cy="3642658"/>
          </a:xfrm>
          <a:prstGeom prst="rect">
            <a:avLst/>
          </a:prstGeom>
          <a:solidFill>
            <a:schemeClr val="accent4">
              <a:lumMod val="50000"/>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4"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269305" y="1404307"/>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269305" y="3199939"/>
            <a:ext cx="5042927" cy="1793105"/>
          </a:xfrm>
          <a:noFill/>
        </p:spPr>
        <p:txBody>
          <a:bodyPr lIns="149216" tIns="111912" rIns="149216" bIns="111912">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19898612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400645517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5">
            <a:extLst>
              <a:ext uri="{FF2B5EF4-FFF2-40B4-BE49-F238E27FC236}">
                <a16:creationId xmlns:a16="http://schemas.microsoft.com/office/drawing/2014/main" id="{B29AF873-228B-446F-A8B8-C502FA334877}"/>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46704448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A39B7838-7F91-41AE-9497-E2EC8EAF0EA4}"/>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2029613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C8186F1A-0EF8-4C34-8D95-C79BFA98A42E}"/>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74679540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082C088D-CF51-4106-A89F-92A00DA4E3E2}"/>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0076989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5">
            <a:extLst>
              <a:ext uri="{FF2B5EF4-FFF2-40B4-BE49-F238E27FC236}">
                <a16:creationId xmlns:a16="http://schemas.microsoft.com/office/drawing/2014/main" id="{BFBDD1FF-22F7-4296-825E-B60DB0914794}"/>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409705571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EEBA7D68-C180-4C4F-A69B-85E951F34592}"/>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7812205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8149DC72-878A-4840-BC9E-439DE2364509}"/>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12137528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5036CF68-B123-4DCD-983A-66FEC7DF02A3}"/>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85836653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362106675"/>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1CDB8115-D0CC-48E6-B152-8CE09DAA0CB4}"/>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71535972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54D4BB85-3FDB-4F40-B262-2B4528CEF11D}"/>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94838430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1CBF1975-CCF9-4EDD-A56E-A5F1F121D661}"/>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29420208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43764FA7-CF73-42CF-B891-8FED625CE161}"/>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7395479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2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F49318DB-7D92-4444-9EA0-0BC21DE83BFC}"/>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71743451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26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EA38204D-680A-4BEB-8BC7-5A4BD743B367}"/>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63504935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664991234"/>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4508284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86245939"/>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image" Target="../media/image4.jpg"/><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55271499"/>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 id="2147483724" r:id="rId25"/>
    <p:sldLayoutId id="2147483725" r:id="rId26"/>
    <p:sldLayoutId id="2147483726" r:id="rId27"/>
    <p:sldLayoutId id="2147483727" r:id="rId28"/>
    <p:sldLayoutId id="2147483728" r:id="rId29"/>
    <p:sldLayoutId id="2147483729" r:id="rId30"/>
    <p:sldLayoutId id="2147483730" r:id="rId31"/>
    <p:sldLayoutId id="2147483731" r:id="rId32"/>
    <p:sldLayoutId id="2147483732" r:id="rId33"/>
    <p:sldLayoutId id="2147483733" r:id="rId34"/>
    <p:sldLayoutId id="2147483734" r:id="rId35"/>
    <p:sldLayoutId id="2147483735" r:id="rId36"/>
    <p:sldLayoutId id="2147483736" r:id="rId37"/>
    <p:sldLayoutId id="2147483737" r:id="rId38"/>
    <p:sldLayoutId id="2147483738" r:id="rId39"/>
    <p:sldLayoutId id="2147483739" r:id="rId40"/>
    <p:sldLayoutId id="2147483740" r:id="rId41"/>
    <p:sldLayoutId id="2147483741" r:id="rId42"/>
    <p:sldLayoutId id="2147483742" r:id="rId43"/>
    <p:sldLayoutId id="2147483743"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23"/>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366AA394-BFB9-4EC5-BE48-0F9705F817F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
        <p:nvSpPr>
          <p:cNvPr id="7" name="Rectangle 6">
            <a:extLst>
              <a:ext uri="{FF2B5EF4-FFF2-40B4-BE49-F238E27FC236}">
                <a16:creationId xmlns:a16="http://schemas.microsoft.com/office/drawing/2014/main" id="{86B374D5-5744-4147-B311-13B6E1E8798F}"/>
              </a:ext>
            </a:extLst>
          </p:cNvPr>
          <p:cNvSpPr/>
          <p:nvPr userDrawn="1"/>
        </p:nvSpPr>
        <p:spPr>
          <a:xfrm>
            <a:off x="18149" y="6531751"/>
            <a:ext cx="5542142" cy="307777"/>
          </a:xfrm>
          <a:prstGeom prst="rect">
            <a:avLst/>
          </a:prstGeom>
          <a:noFill/>
          <a:ln>
            <a:noFill/>
          </a:ln>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0160">
                  <a:solidFill>
                    <a:schemeClr val="accent4">
                      <a:lumMod val="75000"/>
                    </a:schemeClr>
                  </a:solidFill>
                  <a:prstDash val="solid"/>
                </a:ln>
                <a:solidFill>
                  <a:schemeClr val="bg1"/>
                </a:solidFill>
                <a:effectLst>
                  <a:outerShdw blurRad="38100" dist="22860" dir="5400000" algn="tl" rotWithShape="0">
                    <a:srgbClr val="000000">
                      <a:alpha val="30000"/>
                    </a:srgbClr>
                  </a:outerShdw>
                </a:effectLst>
                <a:uLnTx/>
                <a:uFillTx/>
                <a:latin typeface="Segoe UI"/>
                <a:ea typeface="+mn-ea"/>
                <a:cs typeface="+mn-cs"/>
              </a:rPr>
              <a:t>Introduction to the Query Store</a:t>
            </a:r>
          </a:p>
        </p:txBody>
      </p:sp>
    </p:spTree>
    <p:extLst>
      <p:ext uri="{BB962C8B-B14F-4D97-AF65-F5344CB8AC3E}">
        <p14:creationId xmlns:p14="http://schemas.microsoft.com/office/powerpoint/2010/main" val="1752365988"/>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 id="2147483765" r:id="rId21"/>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4">
              <a:lumMod val="50000"/>
            </a:schemeClr>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6.xml"/><Relationship Id="rId7" Type="http://schemas.microsoft.com/office/2007/relationships/hdphoto" Target="../media/hdphoto1.wdp"/><Relationship Id="rId2" Type="http://schemas.openxmlformats.org/officeDocument/2006/relationships/customXml" Target="../../customXml/item17.xml"/><Relationship Id="rId1" Type="http://schemas.openxmlformats.org/officeDocument/2006/relationships/tags" Target="../tags/tag5.xml"/><Relationship Id="rId6" Type="http://schemas.openxmlformats.org/officeDocument/2006/relationships/image" Target="../media/image6.png"/><Relationship Id="rId5" Type="http://schemas.openxmlformats.org/officeDocument/2006/relationships/notesSlide" Target="../notesSlides/notesSlide1.xml"/><Relationship Id="rId4"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1.xml"/><Relationship Id="rId1" Type="http://schemas.openxmlformats.org/officeDocument/2006/relationships/tags" Target="../tags/tag12.xml"/><Relationship Id="rId5" Type="http://schemas.openxmlformats.org/officeDocument/2006/relationships/image" Target="../media/image15.svg"/><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notesSlide" Target="../notesSlides/notesSlide10.xml"/><Relationship Id="rId7" Type="http://schemas.openxmlformats.org/officeDocument/2006/relationships/diagramColors" Target="../diagrams/colors7.xml"/><Relationship Id="rId2" Type="http://schemas.openxmlformats.org/officeDocument/2006/relationships/slideLayout" Target="../slideLayouts/slideLayout15.xml"/><Relationship Id="rId1" Type="http://schemas.openxmlformats.org/officeDocument/2006/relationships/tags" Target="../tags/tag13.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14.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0.xml"/><Relationship Id="rId1" Type="http://schemas.openxmlformats.org/officeDocument/2006/relationships/tags" Target="../tags/tag15.xml"/><Relationship Id="rId4" Type="http://schemas.openxmlformats.org/officeDocument/2006/relationships/image" Target="../media/image17.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0.xml"/><Relationship Id="rId1" Type="http://schemas.openxmlformats.org/officeDocument/2006/relationships/tags" Target="../tags/tag16.xml"/><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0.xml"/><Relationship Id="rId1" Type="http://schemas.openxmlformats.org/officeDocument/2006/relationships/tags" Target="../tags/tag17.xml"/><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0.xml"/><Relationship Id="rId1" Type="http://schemas.openxmlformats.org/officeDocument/2006/relationships/tags" Target="../tags/tag18.xml"/><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2.xml"/><Relationship Id="rId1" Type="http://schemas.openxmlformats.org/officeDocument/2006/relationships/tags" Target="../tags/tag19.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3.xml"/><Relationship Id="rId1" Type="http://schemas.openxmlformats.org/officeDocument/2006/relationships/tags" Target="../tags/tag20.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2.xml"/><Relationship Id="rId1" Type="http://schemas.openxmlformats.org/officeDocument/2006/relationships/tags" Target="../tags/tag7.xm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50.xml"/><Relationship Id="rId6" Type="http://schemas.openxmlformats.org/officeDocument/2006/relationships/image" Target="../media/image10.png"/><Relationship Id="rId5" Type="http://schemas.openxmlformats.org/officeDocument/2006/relationships/image" Target="../media/image9.jpg"/><Relationship Id="rId4" Type="http://schemas.openxmlformats.org/officeDocument/2006/relationships/image" Target="../media/image8.png"/><Relationship Id="rId9"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5.xml"/><Relationship Id="rId7" Type="http://schemas.openxmlformats.org/officeDocument/2006/relationships/diagramColors" Target="../diagrams/colors2.xml"/><Relationship Id="rId2" Type="http://schemas.openxmlformats.org/officeDocument/2006/relationships/slideLayout" Target="../slideLayouts/slideLayout14.xml"/><Relationship Id="rId1" Type="http://schemas.openxmlformats.org/officeDocument/2006/relationships/tags" Target="../tags/tag8.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6.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slideLayout" Target="../slideLayouts/slideLayout14.xml"/><Relationship Id="rId7" Type="http://schemas.openxmlformats.org/officeDocument/2006/relationships/diagramQuickStyle" Target="../diagrams/quickStyle3.xml"/><Relationship Id="rId2" Type="http://schemas.openxmlformats.org/officeDocument/2006/relationships/customXml" Target="../../customXml/item7.xml"/><Relationship Id="rId1" Type="http://schemas.openxmlformats.org/officeDocument/2006/relationships/tags" Target="../tags/tag9.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notesSlide" Target="../notesSlides/notesSlide6.xml"/><Relationship Id="rId9" Type="http://schemas.microsoft.com/office/2007/relationships/diagramDrawing" Target="../diagrams/drawing3.xml"/></Relationships>
</file>

<file path=ppt/slides/_rels/slide7.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slideLayout" Target="../slideLayouts/slideLayout14.xml"/><Relationship Id="rId7" Type="http://schemas.openxmlformats.org/officeDocument/2006/relationships/diagramQuickStyle" Target="../diagrams/quickStyle4.xml"/><Relationship Id="rId2" Type="http://schemas.openxmlformats.org/officeDocument/2006/relationships/customXml" Target="../../customXml/item14.xml"/><Relationship Id="rId1" Type="http://schemas.openxmlformats.org/officeDocument/2006/relationships/tags" Target="../tags/tag10.x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notesSlide" Target="../notesSlides/notesSlide7.xml"/><Relationship Id="rId9" Type="http://schemas.microsoft.com/office/2007/relationships/diagramDrawing" Target="../diagrams/drawing4.xml"/></Relationships>
</file>

<file path=ppt/slides/_rels/slide8.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slideLayout" Target="../slideLayouts/slideLayout14.xml"/><Relationship Id="rId7" Type="http://schemas.openxmlformats.org/officeDocument/2006/relationships/diagramQuickStyle" Target="../diagrams/quickStyle5.xml"/><Relationship Id="rId2" Type="http://schemas.openxmlformats.org/officeDocument/2006/relationships/customXml" Target="../../customXml/item13.xml"/><Relationship Id="rId1" Type="http://schemas.openxmlformats.org/officeDocument/2006/relationships/tags" Target="../tags/tag11.xml"/><Relationship Id="rId6" Type="http://schemas.openxmlformats.org/officeDocument/2006/relationships/diagramLayout" Target="../diagrams/layout5.xml"/><Relationship Id="rId5" Type="http://schemas.openxmlformats.org/officeDocument/2006/relationships/diagramData" Target="../diagrams/data5.xml"/><Relationship Id="rId4" Type="http://schemas.openxmlformats.org/officeDocument/2006/relationships/notesSlide" Target="../notesSlides/notesSlide8.xml"/><Relationship Id="rId9" Type="http://schemas.microsoft.com/office/2007/relationships/diagramDrawing" Target="../diagrams/drawing5.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14.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ctrTitle"/>
            <p:custDataLst>
              <p:custData r:id="rId2"/>
            </p:custDataLst>
          </p:nvPr>
        </p:nvSpPr>
        <p:spPr/>
        <p:txBody>
          <a:bodyPr/>
          <a:lstStyle/>
          <a:p>
            <a:r>
              <a:rPr lang="it-IT"/>
              <a:t>WorkshopPLUS - Data AI: </a:t>
            </a:r>
            <a:br>
              <a:rPr lang="it-IT"/>
            </a:br>
            <a:r>
              <a:rPr lang="en-US"/>
              <a:t>Azure SQL Database Essentials</a:t>
            </a:r>
          </a:p>
        </p:txBody>
      </p:sp>
      <p:pic>
        <p:nvPicPr>
          <p:cNvPr id="148" name="Ofc17_Amelia_006" descr="Young, small business female with journal in modern workplace. ">
            <a:extLst>
              <a:ext uri="{FF2B5EF4-FFF2-40B4-BE49-F238E27FC236}">
                <a16:creationId xmlns:a16="http://schemas.microsoft.com/office/drawing/2014/main" id="{73B1218B-F53A-4144-81D3-6E72572D50BE}"/>
              </a:ext>
            </a:extLst>
          </p:cNvPr>
          <p:cNvPicPr>
            <a:picLocks noGrp="1" noChangeAspect="1"/>
          </p:cNvPicPr>
          <p:nvPr>
            <p:ph type="pic" sz="quarter" idx="17"/>
            <p:custDataLst>
              <p:tags r:id="rId3"/>
            </p:custDataLst>
          </p:nvPr>
        </p:nvPicPr>
        <p:blipFill rotWithShape="1">
          <a:blip r:embed="rId6" cstate="screen">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p:pic>
      <p:grpSp>
        <p:nvGrpSpPr>
          <p:cNvPr id="2" name="Group 1" descr="Azure SQL Database">
            <a:extLst>
              <a:ext uri="{FF2B5EF4-FFF2-40B4-BE49-F238E27FC236}">
                <a16:creationId xmlns:a16="http://schemas.microsoft.com/office/drawing/2014/main" id="{C69960B6-CA3C-4E02-8007-7F117A531879}"/>
              </a:ext>
            </a:extLst>
          </p:cNvPr>
          <p:cNvGrpSpPr/>
          <p:nvPr/>
        </p:nvGrpSpPr>
        <p:grpSpPr>
          <a:xfrm>
            <a:off x="8637150" y="2546372"/>
            <a:ext cx="727319" cy="990490"/>
            <a:chOff x="6538960" y="5922128"/>
            <a:chExt cx="174418" cy="231818"/>
          </a:xfrm>
        </p:grpSpPr>
        <p:sp>
          <p:nvSpPr>
            <p:cNvPr id="9" name="Freeform: Shape 8">
              <a:extLst>
                <a:ext uri="{FF2B5EF4-FFF2-40B4-BE49-F238E27FC236}">
                  <a16:creationId xmlns:a16="http://schemas.microsoft.com/office/drawing/2014/main" id="{84AD9CE7-7832-4C3B-8130-BED48E3C3624}"/>
                </a:ext>
              </a:extLst>
            </p:cNvPr>
            <p:cNvSpPr/>
            <p:nvPr/>
          </p:nvSpPr>
          <p:spPr>
            <a:xfrm>
              <a:off x="6538960" y="5954027"/>
              <a:ext cx="87199" cy="199919"/>
            </a:xfrm>
            <a:custGeom>
              <a:avLst/>
              <a:gdLst>
                <a:gd name="connsiteX0" fmla="*/ 0 w 87199"/>
                <a:gd name="connsiteY0" fmla="*/ 0 h 199919"/>
                <a:gd name="connsiteX1" fmla="*/ 0 w 87199"/>
                <a:gd name="connsiteY1" fmla="*/ 168018 h 199919"/>
                <a:gd name="connsiteX2" fmla="*/ 87200 w 87199"/>
                <a:gd name="connsiteY2" fmla="*/ 199919 h 199919"/>
                <a:gd name="connsiteX3" fmla="*/ 87200 w 87199"/>
                <a:gd name="connsiteY3" fmla="*/ 0 h 199919"/>
                <a:gd name="connsiteX4" fmla="*/ 0 w 87199"/>
                <a:gd name="connsiteY4" fmla="*/ 0 h 19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99" h="199919">
                  <a:moveTo>
                    <a:pt x="0" y="0"/>
                  </a:moveTo>
                  <a:lnTo>
                    <a:pt x="0" y="168018"/>
                  </a:lnTo>
                  <a:cubicBezTo>
                    <a:pt x="0" y="185032"/>
                    <a:pt x="39346" y="199919"/>
                    <a:pt x="87200" y="199919"/>
                  </a:cubicBezTo>
                  <a:lnTo>
                    <a:pt x="87200" y="0"/>
                  </a:lnTo>
                  <a:lnTo>
                    <a:pt x="0" y="0"/>
                  </a:lnTo>
                  <a:close/>
                </a:path>
              </a:pathLst>
            </a:custGeom>
            <a:solidFill>
              <a:srgbClr val="3999C6"/>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FE052D9E-DCB1-4192-A969-43177AFFCB5A}"/>
                </a:ext>
              </a:extLst>
            </p:cNvPr>
            <p:cNvSpPr/>
            <p:nvPr/>
          </p:nvSpPr>
          <p:spPr>
            <a:xfrm>
              <a:off x="6625116" y="5954027"/>
              <a:ext cx="88262" cy="199919"/>
            </a:xfrm>
            <a:custGeom>
              <a:avLst/>
              <a:gdLst>
                <a:gd name="connsiteX0" fmla="*/ 0 w 88262"/>
                <a:gd name="connsiteY0" fmla="*/ 199919 h 199919"/>
                <a:gd name="connsiteX1" fmla="*/ 1063 w 88262"/>
                <a:gd name="connsiteY1" fmla="*/ 199919 h 199919"/>
                <a:gd name="connsiteX2" fmla="*/ 88262 w 88262"/>
                <a:gd name="connsiteY2" fmla="*/ 168018 h 199919"/>
                <a:gd name="connsiteX3" fmla="*/ 88262 w 88262"/>
                <a:gd name="connsiteY3" fmla="*/ 0 h 199919"/>
                <a:gd name="connsiteX4" fmla="*/ 0 w 88262"/>
                <a:gd name="connsiteY4" fmla="*/ 0 h 199919"/>
                <a:gd name="connsiteX5" fmla="*/ 0 w 88262"/>
                <a:gd name="connsiteY5" fmla="*/ 199919 h 199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2" h="199919">
                  <a:moveTo>
                    <a:pt x="0" y="199919"/>
                  </a:moveTo>
                  <a:lnTo>
                    <a:pt x="1063" y="199919"/>
                  </a:lnTo>
                  <a:cubicBezTo>
                    <a:pt x="48917" y="199919"/>
                    <a:pt x="88262" y="185032"/>
                    <a:pt x="88262" y="168018"/>
                  </a:cubicBezTo>
                  <a:lnTo>
                    <a:pt x="88262" y="0"/>
                  </a:lnTo>
                  <a:lnTo>
                    <a:pt x="0" y="0"/>
                  </a:lnTo>
                  <a:lnTo>
                    <a:pt x="0" y="199919"/>
                  </a:lnTo>
                  <a:close/>
                </a:path>
              </a:pathLst>
            </a:custGeom>
            <a:solidFill>
              <a:srgbClr val="5AB4D9"/>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B6A8BC82-BD97-4CF1-810C-2EFB76A63BE8}"/>
                </a:ext>
              </a:extLst>
            </p:cNvPr>
            <p:cNvSpPr/>
            <p:nvPr/>
          </p:nvSpPr>
          <p:spPr>
            <a:xfrm>
              <a:off x="6538960" y="5922128"/>
              <a:ext cx="174398" cy="63804"/>
            </a:xfrm>
            <a:custGeom>
              <a:avLst/>
              <a:gdLst>
                <a:gd name="connsiteX0" fmla="*/ 174398 w 174398"/>
                <a:gd name="connsiteY0" fmla="*/ 31902 h 63804"/>
                <a:gd name="connsiteX1" fmla="*/ 87200 w 174398"/>
                <a:gd name="connsiteY1" fmla="*/ 63805 h 63804"/>
                <a:gd name="connsiteX2" fmla="*/ 0 w 174398"/>
                <a:gd name="connsiteY2" fmla="*/ 31902 h 63804"/>
                <a:gd name="connsiteX3" fmla="*/ 87200 w 174398"/>
                <a:gd name="connsiteY3" fmla="*/ 0 h 63804"/>
                <a:gd name="connsiteX4" fmla="*/ 174398 w 174398"/>
                <a:gd name="connsiteY4" fmla="*/ 31902 h 63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398" h="63804">
                  <a:moveTo>
                    <a:pt x="174398" y="31902"/>
                  </a:moveTo>
                  <a:cubicBezTo>
                    <a:pt x="174398" y="48917"/>
                    <a:pt x="135053" y="63805"/>
                    <a:pt x="87200" y="63805"/>
                  </a:cubicBezTo>
                  <a:cubicBezTo>
                    <a:pt x="39346" y="63805"/>
                    <a:pt x="0" y="48917"/>
                    <a:pt x="0" y="31902"/>
                  </a:cubicBezTo>
                  <a:cubicBezTo>
                    <a:pt x="0" y="14888"/>
                    <a:pt x="39346" y="0"/>
                    <a:pt x="87200" y="0"/>
                  </a:cubicBezTo>
                  <a:cubicBezTo>
                    <a:pt x="135053" y="0"/>
                    <a:pt x="174398" y="13825"/>
                    <a:pt x="174398" y="31902"/>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5406EB7E-BD68-4EC1-9371-2B4B7C5CDCAF}"/>
                </a:ext>
              </a:extLst>
            </p:cNvPr>
            <p:cNvSpPr/>
            <p:nvPr/>
          </p:nvSpPr>
          <p:spPr>
            <a:xfrm>
              <a:off x="6557052" y="5930628"/>
              <a:ext cx="138242" cy="42536"/>
            </a:xfrm>
            <a:custGeom>
              <a:avLst/>
              <a:gdLst>
                <a:gd name="connsiteX0" fmla="*/ 138243 w 138242"/>
                <a:gd name="connsiteY0" fmla="*/ 21268 h 42536"/>
                <a:gd name="connsiteX1" fmla="*/ 69122 w 138242"/>
                <a:gd name="connsiteY1" fmla="*/ 42536 h 42536"/>
                <a:gd name="connsiteX2" fmla="*/ 0 w 138242"/>
                <a:gd name="connsiteY2" fmla="*/ 21268 h 42536"/>
                <a:gd name="connsiteX3" fmla="*/ 69122 w 138242"/>
                <a:gd name="connsiteY3" fmla="*/ 0 h 42536"/>
                <a:gd name="connsiteX4" fmla="*/ 138243 w 138242"/>
                <a:gd name="connsiteY4" fmla="*/ 21268 h 42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242" h="42536">
                  <a:moveTo>
                    <a:pt x="138243" y="21268"/>
                  </a:moveTo>
                  <a:cubicBezTo>
                    <a:pt x="138243" y="32966"/>
                    <a:pt x="107404" y="42536"/>
                    <a:pt x="69122" y="42536"/>
                  </a:cubicBezTo>
                  <a:cubicBezTo>
                    <a:pt x="30839" y="42536"/>
                    <a:pt x="0" y="32966"/>
                    <a:pt x="0" y="21268"/>
                  </a:cubicBezTo>
                  <a:cubicBezTo>
                    <a:pt x="0" y="9570"/>
                    <a:pt x="30839" y="0"/>
                    <a:pt x="69122" y="0"/>
                  </a:cubicBezTo>
                  <a:cubicBezTo>
                    <a:pt x="107404" y="0"/>
                    <a:pt x="138243" y="9570"/>
                    <a:pt x="138243" y="21268"/>
                  </a:cubicBezTo>
                  <a:close/>
                </a:path>
              </a:pathLst>
            </a:custGeom>
            <a:solidFill>
              <a:srgbClr val="7FBB42"/>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DFC61D18-0538-4F54-8670-9E26DB17FE1E}"/>
                </a:ext>
              </a:extLst>
            </p:cNvPr>
            <p:cNvSpPr/>
            <p:nvPr/>
          </p:nvSpPr>
          <p:spPr>
            <a:xfrm>
              <a:off x="6558110" y="5930628"/>
              <a:ext cx="138242" cy="34028"/>
            </a:xfrm>
            <a:custGeom>
              <a:avLst/>
              <a:gdLst>
                <a:gd name="connsiteX0" fmla="*/ 123355 w 138242"/>
                <a:gd name="connsiteY0" fmla="*/ 34029 h 34028"/>
                <a:gd name="connsiteX1" fmla="*/ 138243 w 138242"/>
                <a:gd name="connsiteY1" fmla="*/ 21268 h 34028"/>
                <a:gd name="connsiteX2" fmla="*/ 69121 w 138242"/>
                <a:gd name="connsiteY2" fmla="*/ 0 h 34028"/>
                <a:gd name="connsiteX3" fmla="*/ 0 w 138242"/>
                <a:gd name="connsiteY3" fmla="*/ 20205 h 34028"/>
                <a:gd name="connsiteX4" fmla="*/ 13825 w 138242"/>
                <a:gd name="connsiteY4" fmla="*/ 32966 h 34028"/>
                <a:gd name="connsiteX5" fmla="*/ 69121 w 138242"/>
                <a:gd name="connsiteY5" fmla="*/ 24458 h 34028"/>
                <a:gd name="connsiteX6" fmla="*/ 123355 w 138242"/>
                <a:gd name="connsiteY6" fmla="*/ 34029 h 3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242" h="34028">
                  <a:moveTo>
                    <a:pt x="123355" y="34029"/>
                  </a:moveTo>
                  <a:cubicBezTo>
                    <a:pt x="131862" y="30839"/>
                    <a:pt x="138243" y="25522"/>
                    <a:pt x="138243" y="21268"/>
                  </a:cubicBezTo>
                  <a:cubicBezTo>
                    <a:pt x="138243" y="9570"/>
                    <a:pt x="107404" y="0"/>
                    <a:pt x="69121" y="0"/>
                  </a:cubicBezTo>
                  <a:cubicBezTo>
                    <a:pt x="30839" y="0"/>
                    <a:pt x="0" y="8508"/>
                    <a:pt x="0" y="20205"/>
                  </a:cubicBezTo>
                  <a:cubicBezTo>
                    <a:pt x="0" y="25522"/>
                    <a:pt x="5317" y="29775"/>
                    <a:pt x="13825" y="32966"/>
                  </a:cubicBezTo>
                  <a:cubicBezTo>
                    <a:pt x="26585" y="27648"/>
                    <a:pt x="46790" y="24458"/>
                    <a:pt x="69121" y="24458"/>
                  </a:cubicBezTo>
                  <a:cubicBezTo>
                    <a:pt x="90389" y="25522"/>
                    <a:pt x="110595" y="28712"/>
                    <a:pt x="123355" y="34029"/>
                  </a:cubicBezTo>
                  <a:close/>
                </a:path>
              </a:pathLst>
            </a:custGeom>
            <a:solidFill>
              <a:srgbClr val="B8D433"/>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58C311A2-3CEB-48D2-A5BC-D47C1FC96292}"/>
                </a:ext>
              </a:extLst>
            </p:cNvPr>
            <p:cNvSpPr/>
            <p:nvPr/>
          </p:nvSpPr>
          <p:spPr>
            <a:xfrm>
              <a:off x="6560225" y="6021032"/>
              <a:ext cx="37219" cy="55297"/>
            </a:xfrm>
            <a:custGeom>
              <a:avLst/>
              <a:gdLst>
                <a:gd name="connsiteX0" fmla="*/ 0 w 37219"/>
                <a:gd name="connsiteY0" fmla="*/ 53171 h 55297"/>
                <a:gd name="connsiteX1" fmla="*/ 0 w 37219"/>
                <a:gd name="connsiteY1" fmla="*/ 41474 h 55297"/>
                <a:gd name="connsiteX2" fmla="*/ 6380 w 37219"/>
                <a:gd name="connsiteY2" fmla="*/ 45727 h 55297"/>
                <a:gd name="connsiteX3" fmla="*/ 13825 w 37219"/>
                <a:gd name="connsiteY3" fmla="*/ 46791 h 55297"/>
                <a:gd name="connsiteX4" fmla="*/ 18078 w 37219"/>
                <a:gd name="connsiteY4" fmla="*/ 45727 h 55297"/>
                <a:gd name="connsiteX5" fmla="*/ 21269 w 37219"/>
                <a:gd name="connsiteY5" fmla="*/ 44663 h 55297"/>
                <a:gd name="connsiteX6" fmla="*/ 22332 w 37219"/>
                <a:gd name="connsiteY6" fmla="*/ 42536 h 55297"/>
                <a:gd name="connsiteX7" fmla="*/ 23396 w 37219"/>
                <a:gd name="connsiteY7" fmla="*/ 40410 h 55297"/>
                <a:gd name="connsiteX8" fmla="*/ 22332 w 37219"/>
                <a:gd name="connsiteY8" fmla="*/ 37219 h 55297"/>
                <a:gd name="connsiteX9" fmla="*/ 20205 w 37219"/>
                <a:gd name="connsiteY9" fmla="*/ 35093 h 55297"/>
                <a:gd name="connsiteX10" fmla="*/ 17015 w 37219"/>
                <a:gd name="connsiteY10" fmla="*/ 32966 h 55297"/>
                <a:gd name="connsiteX11" fmla="*/ 12761 w 37219"/>
                <a:gd name="connsiteY11" fmla="*/ 30839 h 55297"/>
                <a:gd name="connsiteX12" fmla="*/ 3191 w 37219"/>
                <a:gd name="connsiteY12" fmla="*/ 24458 h 55297"/>
                <a:gd name="connsiteX13" fmla="*/ 0 w 37219"/>
                <a:gd name="connsiteY13" fmla="*/ 15952 h 55297"/>
                <a:gd name="connsiteX14" fmla="*/ 1064 w 37219"/>
                <a:gd name="connsiteY14" fmla="*/ 9571 h 55297"/>
                <a:gd name="connsiteX15" fmla="*/ 5318 w 37219"/>
                <a:gd name="connsiteY15" fmla="*/ 4254 h 55297"/>
                <a:gd name="connsiteX16" fmla="*/ 11698 w 37219"/>
                <a:gd name="connsiteY16" fmla="*/ 1064 h 55297"/>
                <a:gd name="connsiteX17" fmla="*/ 20205 w 37219"/>
                <a:gd name="connsiteY17" fmla="*/ 0 h 55297"/>
                <a:gd name="connsiteX18" fmla="*/ 27649 w 37219"/>
                <a:gd name="connsiteY18" fmla="*/ 1064 h 55297"/>
                <a:gd name="connsiteX19" fmla="*/ 34030 w 37219"/>
                <a:gd name="connsiteY19" fmla="*/ 2127 h 55297"/>
                <a:gd name="connsiteX20" fmla="*/ 34030 w 37219"/>
                <a:gd name="connsiteY20" fmla="*/ 12761 h 55297"/>
                <a:gd name="connsiteX21" fmla="*/ 30839 w 37219"/>
                <a:gd name="connsiteY21" fmla="*/ 11697 h 55297"/>
                <a:gd name="connsiteX22" fmla="*/ 27649 w 37219"/>
                <a:gd name="connsiteY22" fmla="*/ 10635 h 55297"/>
                <a:gd name="connsiteX23" fmla="*/ 24458 w 37219"/>
                <a:gd name="connsiteY23" fmla="*/ 9571 h 55297"/>
                <a:gd name="connsiteX24" fmla="*/ 21269 w 37219"/>
                <a:gd name="connsiteY24" fmla="*/ 9571 h 55297"/>
                <a:gd name="connsiteX25" fmla="*/ 18078 w 37219"/>
                <a:gd name="connsiteY25" fmla="*/ 9571 h 55297"/>
                <a:gd name="connsiteX26" fmla="*/ 15952 w 37219"/>
                <a:gd name="connsiteY26" fmla="*/ 10635 h 55297"/>
                <a:gd name="connsiteX27" fmla="*/ 13825 w 37219"/>
                <a:gd name="connsiteY27" fmla="*/ 11697 h 55297"/>
                <a:gd name="connsiteX28" fmla="*/ 12761 w 37219"/>
                <a:gd name="connsiteY28" fmla="*/ 13825 h 55297"/>
                <a:gd name="connsiteX29" fmla="*/ 13825 w 37219"/>
                <a:gd name="connsiteY29" fmla="*/ 15952 h 55297"/>
                <a:gd name="connsiteX30" fmla="*/ 15952 w 37219"/>
                <a:gd name="connsiteY30" fmla="*/ 18078 h 55297"/>
                <a:gd name="connsiteX31" fmla="*/ 19141 w 37219"/>
                <a:gd name="connsiteY31" fmla="*/ 20205 h 55297"/>
                <a:gd name="connsiteX32" fmla="*/ 23396 w 37219"/>
                <a:gd name="connsiteY32" fmla="*/ 22332 h 55297"/>
                <a:gd name="connsiteX33" fmla="*/ 28713 w 37219"/>
                <a:gd name="connsiteY33" fmla="*/ 25522 h 55297"/>
                <a:gd name="connsiteX34" fmla="*/ 32966 w 37219"/>
                <a:gd name="connsiteY34" fmla="*/ 28713 h 55297"/>
                <a:gd name="connsiteX35" fmla="*/ 36156 w 37219"/>
                <a:gd name="connsiteY35" fmla="*/ 32966 h 55297"/>
                <a:gd name="connsiteX36" fmla="*/ 37219 w 37219"/>
                <a:gd name="connsiteY36" fmla="*/ 38283 h 55297"/>
                <a:gd name="connsiteX37" fmla="*/ 36156 w 37219"/>
                <a:gd name="connsiteY37" fmla="*/ 45727 h 55297"/>
                <a:gd name="connsiteX38" fmla="*/ 31902 w 37219"/>
                <a:gd name="connsiteY38" fmla="*/ 51044 h 55297"/>
                <a:gd name="connsiteX39" fmla="*/ 24458 w 37219"/>
                <a:gd name="connsiteY39" fmla="*/ 54234 h 55297"/>
                <a:gd name="connsiteX40" fmla="*/ 17015 w 37219"/>
                <a:gd name="connsiteY40" fmla="*/ 55297 h 55297"/>
                <a:gd name="connsiteX41" fmla="*/ 8508 w 37219"/>
                <a:gd name="connsiteY41" fmla="*/ 54234 h 55297"/>
                <a:gd name="connsiteX42" fmla="*/ 0 w 37219"/>
                <a:gd name="connsiteY42" fmla="*/ 53171 h 5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7219" h="55297">
                  <a:moveTo>
                    <a:pt x="0" y="53171"/>
                  </a:moveTo>
                  <a:lnTo>
                    <a:pt x="0" y="41474"/>
                  </a:lnTo>
                  <a:cubicBezTo>
                    <a:pt x="2127" y="43600"/>
                    <a:pt x="4254" y="44663"/>
                    <a:pt x="6380" y="45727"/>
                  </a:cubicBezTo>
                  <a:cubicBezTo>
                    <a:pt x="9571" y="46791"/>
                    <a:pt x="11697" y="46791"/>
                    <a:pt x="13825" y="46791"/>
                  </a:cubicBezTo>
                  <a:cubicBezTo>
                    <a:pt x="14888" y="46791"/>
                    <a:pt x="15952" y="46791"/>
                    <a:pt x="18078" y="45727"/>
                  </a:cubicBezTo>
                  <a:cubicBezTo>
                    <a:pt x="19141" y="45727"/>
                    <a:pt x="20205" y="44663"/>
                    <a:pt x="21269" y="44663"/>
                  </a:cubicBezTo>
                  <a:cubicBezTo>
                    <a:pt x="22332" y="43600"/>
                    <a:pt x="22332" y="43600"/>
                    <a:pt x="22332" y="42536"/>
                  </a:cubicBezTo>
                  <a:cubicBezTo>
                    <a:pt x="22332" y="41474"/>
                    <a:pt x="23396" y="41474"/>
                    <a:pt x="23396" y="40410"/>
                  </a:cubicBezTo>
                  <a:cubicBezTo>
                    <a:pt x="23396" y="39346"/>
                    <a:pt x="23396" y="38283"/>
                    <a:pt x="22332" y="37219"/>
                  </a:cubicBezTo>
                  <a:cubicBezTo>
                    <a:pt x="21269" y="36156"/>
                    <a:pt x="21269" y="36156"/>
                    <a:pt x="20205" y="35093"/>
                  </a:cubicBezTo>
                  <a:cubicBezTo>
                    <a:pt x="19141" y="34030"/>
                    <a:pt x="18078" y="34030"/>
                    <a:pt x="17015" y="32966"/>
                  </a:cubicBezTo>
                  <a:cubicBezTo>
                    <a:pt x="15952" y="31902"/>
                    <a:pt x="14888" y="31902"/>
                    <a:pt x="12761" y="30839"/>
                  </a:cubicBezTo>
                  <a:cubicBezTo>
                    <a:pt x="8508" y="28713"/>
                    <a:pt x="5318" y="26586"/>
                    <a:pt x="3191" y="24458"/>
                  </a:cubicBezTo>
                  <a:cubicBezTo>
                    <a:pt x="1064" y="21269"/>
                    <a:pt x="0" y="19141"/>
                    <a:pt x="0" y="15952"/>
                  </a:cubicBezTo>
                  <a:cubicBezTo>
                    <a:pt x="0" y="12761"/>
                    <a:pt x="1064" y="10635"/>
                    <a:pt x="1064" y="9571"/>
                  </a:cubicBezTo>
                  <a:cubicBezTo>
                    <a:pt x="2127" y="7444"/>
                    <a:pt x="4254" y="6380"/>
                    <a:pt x="5318" y="4254"/>
                  </a:cubicBezTo>
                  <a:cubicBezTo>
                    <a:pt x="7444" y="3191"/>
                    <a:pt x="9571" y="2127"/>
                    <a:pt x="11698" y="1064"/>
                  </a:cubicBezTo>
                  <a:cubicBezTo>
                    <a:pt x="14888" y="0"/>
                    <a:pt x="17015" y="0"/>
                    <a:pt x="20205" y="0"/>
                  </a:cubicBezTo>
                  <a:cubicBezTo>
                    <a:pt x="23396" y="0"/>
                    <a:pt x="25522" y="0"/>
                    <a:pt x="27649" y="1064"/>
                  </a:cubicBezTo>
                  <a:cubicBezTo>
                    <a:pt x="29776" y="1064"/>
                    <a:pt x="31902" y="2127"/>
                    <a:pt x="34030" y="2127"/>
                  </a:cubicBezTo>
                  <a:lnTo>
                    <a:pt x="34030" y="12761"/>
                  </a:lnTo>
                  <a:cubicBezTo>
                    <a:pt x="32966" y="11697"/>
                    <a:pt x="31902" y="11697"/>
                    <a:pt x="30839" y="11697"/>
                  </a:cubicBezTo>
                  <a:cubicBezTo>
                    <a:pt x="29776" y="10635"/>
                    <a:pt x="28713" y="10635"/>
                    <a:pt x="27649" y="10635"/>
                  </a:cubicBezTo>
                  <a:cubicBezTo>
                    <a:pt x="26586" y="10635"/>
                    <a:pt x="25522" y="9571"/>
                    <a:pt x="24458" y="9571"/>
                  </a:cubicBezTo>
                  <a:cubicBezTo>
                    <a:pt x="23396" y="9571"/>
                    <a:pt x="22332" y="9571"/>
                    <a:pt x="21269" y="9571"/>
                  </a:cubicBezTo>
                  <a:cubicBezTo>
                    <a:pt x="20205" y="9571"/>
                    <a:pt x="18078" y="9571"/>
                    <a:pt x="18078" y="9571"/>
                  </a:cubicBezTo>
                  <a:cubicBezTo>
                    <a:pt x="17015" y="9571"/>
                    <a:pt x="15952" y="10635"/>
                    <a:pt x="15952" y="10635"/>
                  </a:cubicBezTo>
                  <a:cubicBezTo>
                    <a:pt x="14888" y="11697"/>
                    <a:pt x="14888" y="11697"/>
                    <a:pt x="13825" y="11697"/>
                  </a:cubicBezTo>
                  <a:cubicBezTo>
                    <a:pt x="12761" y="12761"/>
                    <a:pt x="12761" y="12761"/>
                    <a:pt x="12761" y="13825"/>
                  </a:cubicBezTo>
                  <a:cubicBezTo>
                    <a:pt x="12761" y="14888"/>
                    <a:pt x="12761" y="14888"/>
                    <a:pt x="13825" y="15952"/>
                  </a:cubicBezTo>
                  <a:cubicBezTo>
                    <a:pt x="14888" y="17015"/>
                    <a:pt x="14888" y="17015"/>
                    <a:pt x="15952" y="18078"/>
                  </a:cubicBezTo>
                  <a:cubicBezTo>
                    <a:pt x="17015" y="19141"/>
                    <a:pt x="18078" y="19141"/>
                    <a:pt x="19141" y="20205"/>
                  </a:cubicBezTo>
                  <a:cubicBezTo>
                    <a:pt x="20205" y="21269"/>
                    <a:pt x="22332" y="21269"/>
                    <a:pt x="23396" y="22332"/>
                  </a:cubicBezTo>
                  <a:cubicBezTo>
                    <a:pt x="25522" y="23396"/>
                    <a:pt x="27649" y="24458"/>
                    <a:pt x="28713" y="25522"/>
                  </a:cubicBezTo>
                  <a:cubicBezTo>
                    <a:pt x="30839" y="26586"/>
                    <a:pt x="31902" y="27649"/>
                    <a:pt x="32966" y="28713"/>
                  </a:cubicBezTo>
                  <a:cubicBezTo>
                    <a:pt x="34030" y="29775"/>
                    <a:pt x="35093" y="31902"/>
                    <a:pt x="36156" y="32966"/>
                  </a:cubicBezTo>
                  <a:cubicBezTo>
                    <a:pt x="37219" y="34030"/>
                    <a:pt x="37219" y="36156"/>
                    <a:pt x="37219" y="38283"/>
                  </a:cubicBezTo>
                  <a:cubicBezTo>
                    <a:pt x="37219" y="41474"/>
                    <a:pt x="36156" y="43600"/>
                    <a:pt x="36156" y="45727"/>
                  </a:cubicBezTo>
                  <a:cubicBezTo>
                    <a:pt x="35093" y="47853"/>
                    <a:pt x="32966" y="48917"/>
                    <a:pt x="31902" y="51044"/>
                  </a:cubicBezTo>
                  <a:cubicBezTo>
                    <a:pt x="29776" y="52107"/>
                    <a:pt x="27649" y="53171"/>
                    <a:pt x="24458" y="54234"/>
                  </a:cubicBezTo>
                  <a:cubicBezTo>
                    <a:pt x="21269" y="55297"/>
                    <a:pt x="20205" y="55297"/>
                    <a:pt x="17015" y="55297"/>
                  </a:cubicBezTo>
                  <a:cubicBezTo>
                    <a:pt x="14888" y="55297"/>
                    <a:pt x="11697" y="55297"/>
                    <a:pt x="8508" y="54234"/>
                  </a:cubicBezTo>
                  <a:cubicBezTo>
                    <a:pt x="4254" y="55297"/>
                    <a:pt x="2127" y="54234"/>
                    <a:pt x="0" y="53171"/>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120A5BCE-E210-4FE1-B89C-4869EB93DDFA}"/>
                </a:ext>
              </a:extLst>
            </p:cNvPr>
            <p:cNvSpPr/>
            <p:nvPr/>
          </p:nvSpPr>
          <p:spPr>
            <a:xfrm>
              <a:off x="6601698" y="6023148"/>
              <a:ext cx="56360" cy="62741"/>
            </a:xfrm>
            <a:custGeom>
              <a:avLst/>
              <a:gdLst>
                <a:gd name="connsiteX0" fmla="*/ 25522 w 56360"/>
                <a:gd name="connsiteY0" fmla="*/ 54234 h 62741"/>
                <a:gd name="connsiteX1" fmla="*/ 7444 w 56360"/>
                <a:gd name="connsiteY1" fmla="*/ 46790 h 62741"/>
                <a:gd name="connsiteX2" fmla="*/ 0 w 56360"/>
                <a:gd name="connsiteY2" fmla="*/ 27648 h 62741"/>
                <a:gd name="connsiteX3" fmla="*/ 7444 w 56360"/>
                <a:gd name="connsiteY3" fmla="*/ 7444 h 62741"/>
                <a:gd name="connsiteX4" fmla="*/ 26586 w 56360"/>
                <a:gd name="connsiteY4" fmla="*/ 0 h 62741"/>
                <a:gd name="connsiteX5" fmla="*/ 44663 w 56360"/>
                <a:gd name="connsiteY5" fmla="*/ 7444 h 62741"/>
                <a:gd name="connsiteX6" fmla="*/ 52107 w 56360"/>
                <a:gd name="connsiteY6" fmla="*/ 27648 h 62741"/>
                <a:gd name="connsiteX7" fmla="*/ 44663 w 56360"/>
                <a:gd name="connsiteY7" fmla="*/ 47853 h 62741"/>
                <a:gd name="connsiteX8" fmla="*/ 43600 w 56360"/>
                <a:gd name="connsiteY8" fmla="*/ 48917 h 62741"/>
                <a:gd name="connsiteX9" fmla="*/ 42536 w 56360"/>
                <a:gd name="connsiteY9" fmla="*/ 49980 h 62741"/>
                <a:gd name="connsiteX10" fmla="*/ 56361 w 56360"/>
                <a:gd name="connsiteY10" fmla="*/ 62741 h 62741"/>
                <a:gd name="connsiteX11" fmla="*/ 39346 w 56360"/>
                <a:gd name="connsiteY11" fmla="*/ 62741 h 62741"/>
                <a:gd name="connsiteX12" fmla="*/ 32966 w 56360"/>
                <a:gd name="connsiteY12" fmla="*/ 55297 h 62741"/>
                <a:gd name="connsiteX13" fmla="*/ 25522 w 56360"/>
                <a:gd name="connsiteY13" fmla="*/ 54234 h 62741"/>
                <a:gd name="connsiteX14" fmla="*/ 26586 w 56360"/>
                <a:gd name="connsiteY14" fmla="*/ 9570 h 62741"/>
                <a:gd name="connsiteX15" fmla="*/ 15952 w 56360"/>
                <a:gd name="connsiteY15" fmla="*/ 13825 h 62741"/>
                <a:gd name="connsiteX16" fmla="*/ 12761 w 56360"/>
                <a:gd name="connsiteY16" fmla="*/ 26586 h 62741"/>
                <a:gd name="connsiteX17" fmla="*/ 15952 w 56360"/>
                <a:gd name="connsiteY17" fmla="*/ 39346 h 62741"/>
                <a:gd name="connsiteX18" fmla="*/ 25522 w 56360"/>
                <a:gd name="connsiteY18" fmla="*/ 43600 h 62741"/>
                <a:gd name="connsiteX19" fmla="*/ 35093 w 56360"/>
                <a:gd name="connsiteY19" fmla="*/ 39346 h 62741"/>
                <a:gd name="connsiteX20" fmla="*/ 38283 w 56360"/>
                <a:gd name="connsiteY20" fmla="*/ 26586 h 62741"/>
                <a:gd name="connsiteX21" fmla="*/ 35093 w 56360"/>
                <a:gd name="connsiteY21" fmla="*/ 13825 h 62741"/>
                <a:gd name="connsiteX22" fmla="*/ 26586 w 56360"/>
                <a:gd name="connsiteY22" fmla="*/ 9570 h 62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6360" h="62741">
                  <a:moveTo>
                    <a:pt x="25522" y="54234"/>
                  </a:moveTo>
                  <a:cubicBezTo>
                    <a:pt x="18079" y="54234"/>
                    <a:pt x="11698" y="51044"/>
                    <a:pt x="7444" y="46790"/>
                  </a:cubicBezTo>
                  <a:cubicBezTo>
                    <a:pt x="2127" y="42536"/>
                    <a:pt x="0" y="35092"/>
                    <a:pt x="0" y="27648"/>
                  </a:cubicBezTo>
                  <a:cubicBezTo>
                    <a:pt x="0" y="19141"/>
                    <a:pt x="2127" y="12761"/>
                    <a:pt x="7444" y="7444"/>
                  </a:cubicBezTo>
                  <a:cubicBezTo>
                    <a:pt x="11698" y="2127"/>
                    <a:pt x="18079" y="0"/>
                    <a:pt x="26586" y="0"/>
                  </a:cubicBezTo>
                  <a:cubicBezTo>
                    <a:pt x="34030" y="0"/>
                    <a:pt x="40410" y="2127"/>
                    <a:pt x="44663" y="7444"/>
                  </a:cubicBezTo>
                  <a:cubicBezTo>
                    <a:pt x="49980" y="12761"/>
                    <a:pt x="52107" y="19141"/>
                    <a:pt x="52107" y="27648"/>
                  </a:cubicBezTo>
                  <a:cubicBezTo>
                    <a:pt x="52107" y="36156"/>
                    <a:pt x="49980" y="42536"/>
                    <a:pt x="44663" y="47853"/>
                  </a:cubicBezTo>
                  <a:cubicBezTo>
                    <a:pt x="44663" y="47853"/>
                    <a:pt x="44663" y="47853"/>
                    <a:pt x="43600" y="48917"/>
                  </a:cubicBezTo>
                  <a:cubicBezTo>
                    <a:pt x="43600" y="48917"/>
                    <a:pt x="43600" y="48917"/>
                    <a:pt x="42536" y="49980"/>
                  </a:cubicBezTo>
                  <a:lnTo>
                    <a:pt x="56361" y="62741"/>
                  </a:lnTo>
                  <a:lnTo>
                    <a:pt x="39346" y="62741"/>
                  </a:lnTo>
                  <a:lnTo>
                    <a:pt x="32966" y="55297"/>
                  </a:lnTo>
                  <a:cubicBezTo>
                    <a:pt x="30839" y="54234"/>
                    <a:pt x="28713" y="54234"/>
                    <a:pt x="25522" y="54234"/>
                  </a:cubicBezTo>
                  <a:close/>
                  <a:moveTo>
                    <a:pt x="26586" y="9570"/>
                  </a:moveTo>
                  <a:cubicBezTo>
                    <a:pt x="22332" y="9570"/>
                    <a:pt x="19141" y="10634"/>
                    <a:pt x="15952" y="13825"/>
                  </a:cubicBezTo>
                  <a:cubicBezTo>
                    <a:pt x="12761" y="17014"/>
                    <a:pt x="12761" y="21268"/>
                    <a:pt x="12761" y="26586"/>
                  </a:cubicBezTo>
                  <a:cubicBezTo>
                    <a:pt x="12761" y="31902"/>
                    <a:pt x="13825" y="36156"/>
                    <a:pt x="15952" y="39346"/>
                  </a:cubicBezTo>
                  <a:cubicBezTo>
                    <a:pt x="19141" y="42536"/>
                    <a:pt x="21269" y="43600"/>
                    <a:pt x="25522" y="43600"/>
                  </a:cubicBezTo>
                  <a:cubicBezTo>
                    <a:pt x="29776" y="43600"/>
                    <a:pt x="32966" y="42536"/>
                    <a:pt x="35093" y="39346"/>
                  </a:cubicBezTo>
                  <a:cubicBezTo>
                    <a:pt x="37219" y="36156"/>
                    <a:pt x="38283" y="31902"/>
                    <a:pt x="38283" y="26586"/>
                  </a:cubicBezTo>
                  <a:cubicBezTo>
                    <a:pt x="38283" y="21268"/>
                    <a:pt x="37219" y="17014"/>
                    <a:pt x="35093" y="13825"/>
                  </a:cubicBezTo>
                  <a:cubicBezTo>
                    <a:pt x="34030" y="10634"/>
                    <a:pt x="30839" y="9570"/>
                    <a:pt x="26586" y="9570"/>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4A3A7433-F2C9-41B4-91CF-8887B181A989}"/>
                </a:ext>
              </a:extLst>
            </p:cNvPr>
            <p:cNvSpPr/>
            <p:nvPr/>
          </p:nvSpPr>
          <p:spPr>
            <a:xfrm>
              <a:off x="6662320" y="6023148"/>
              <a:ext cx="31902" cy="53170"/>
            </a:xfrm>
            <a:custGeom>
              <a:avLst/>
              <a:gdLst>
                <a:gd name="connsiteX0" fmla="*/ 31902 w 31902"/>
                <a:gd name="connsiteY0" fmla="*/ 53170 h 53170"/>
                <a:gd name="connsiteX1" fmla="*/ 0 w 31902"/>
                <a:gd name="connsiteY1" fmla="*/ 53170 h 53170"/>
                <a:gd name="connsiteX2" fmla="*/ 0 w 31902"/>
                <a:gd name="connsiteY2" fmla="*/ 0 h 53170"/>
                <a:gd name="connsiteX3" fmla="*/ 11697 w 31902"/>
                <a:gd name="connsiteY3" fmla="*/ 0 h 53170"/>
                <a:gd name="connsiteX4" fmla="*/ 11697 w 31902"/>
                <a:gd name="connsiteY4" fmla="*/ 43600 h 53170"/>
                <a:gd name="connsiteX5" fmla="*/ 31902 w 31902"/>
                <a:gd name="connsiteY5" fmla="*/ 43600 h 53170"/>
                <a:gd name="connsiteX6" fmla="*/ 31902 w 31902"/>
                <a:gd name="connsiteY6" fmla="*/ 53170 h 53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2" h="53170">
                  <a:moveTo>
                    <a:pt x="31902" y="53170"/>
                  </a:moveTo>
                  <a:lnTo>
                    <a:pt x="0" y="53170"/>
                  </a:lnTo>
                  <a:lnTo>
                    <a:pt x="0" y="0"/>
                  </a:lnTo>
                  <a:lnTo>
                    <a:pt x="11697" y="0"/>
                  </a:lnTo>
                  <a:lnTo>
                    <a:pt x="11697" y="43600"/>
                  </a:lnTo>
                  <a:lnTo>
                    <a:pt x="31902" y="43600"/>
                  </a:lnTo>
                  <a:lnTo>
                    <a:pt x="31902" y="53170"/>
                  </a:ln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3" name="Freeform 60" descr="Azure SQL Database">
            <a:extLst>
              <a:ext uri="{FF2B5EF4-FFF2-40B4-BE49-F238E27FC236}">
                <a16:creationId xmlns:a16="http://schemas.microsoft.com/office/drawing/2014/main" id="{69DAB1AC-2988-4F35-A0BB-22D35221571F}"/>
              </a:ext>
            </a:extLst>
          </p:cNvPr>
          <p:cNvSpPr>
            <a:spLocks noChangeAspect="1"/>
          </p:cNvSpPr>
          <p:nvPr/>
        </p:nvSpPr>
        <p:spPr bwMode="auto">
          <a:xfrm>
            <a:off x="9061252" y="3212152"/>
            <a:ext cx="761121" cy="482023"/>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22225" cap="flat" cmpd="sng" algn="ctr">
            <a:solidFill>
              <a:srgbClr val="0078D7"/>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7" name="Rectangle 6">
            <a:extLst>
              <a:ext uri="{FF2B5EF4-FFF2-40B4-BE49-F238E27FC236}">
                <a16:creationId xmlns:a16="http://schemas.microsoft.com/office/drawing/2014/main" id="{D3EAAD9A-76BF-48B0-A6BF-A24D0A8C5A8F}"/>
              </a:ext>
              <a:ext uri="{C183D7F6-B498-43B3-948B-1728B52AA6E4}">
                <adec:decorative xmlns:adec="http://schemas.microsoft.com/office/drawing/2017/decorative" val="1"/>
              </a:ext>
            </a:extLst>
          </p:cNvPr>
          <p:cNvSpPr/>
          <p:nvPr/>
        </p:nvSpPr>
        <p:spPr bwMode="auto">
          <a:xfrm>
            <a:off x="5333682" y="-6699"/>
            <a:ext cx="6857999" cy="6861175"/>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62941591"/>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7" y="320040"/>
            <a:ext cx="4352926" cy="461665"/>
          </a:xfrm>
        </p:spPr>
        <p:txBody>
          <a:bodyPr wrap="square" anchor="t">
            <a:normAutofit/>
          </a:bodyPr>
          <a:lstStyle/>
          <a:p>
            <a:r>
              <a:rPr lang="en-US"/>
              <a:t>Attendee Introductions</a:t>
            </a:r>
          </a:p>
        </p:txBody>
      </p:sp>
      <p:sp>
        <p:nvSpPr>
          <p:cNvPr id="3" name="Text Placeholder 2"/>
          <p:cNvSpPr>
            <a:spLocks noGrp="1"/>
          </p:cNvSpPr>
          <p:nvPr>
            <p:ph type="body" sz="quarter" idx="16"/>
          </p:nvPr>
        </p:nvSpPr>
        <p:spPr>
          <a:xfrm>
            <a:off x="655320" y="1408113"/>
            <a:ext cx="4352925" cy="4819650"/>
          </a:xfrm>
        </p:spPr>
        <p:txBody>
          <a:bodyPr>
            <a:normAutofit/>
          </a:bodyPr>
          <a:lstStyle/>
          <a:p>
            <a:r>
              <a:rPr lang="en-US" dirty="0"/>
              <a:t>Name</a:t>
            </a:r>
          </a:p>
          <a:p>
            <a:endParaRPr lang="en-US" dirty="0"/>
          </a:p>
          <a:p>
            <a:r>
              <a:rPr lang="en-US" dirty="0"/>
              <a:t>Job/Team/Specialty</a:t>
            </a:r>
          </a:p>
          <a:p>
            <a:endParaRPr lang="en-US" dirty="0"/>
          </a:p>
          <a:p>
            <a:r>
              <a:rPr lang="en-US" dirty="0"/>
              <a:t>Time Zone</a:t>
            </a:r>
          </a:p>
          <a:p>
            <a:endParaRPr lang="en-US" dirty="0"/>
          </a:p>
          <a:p>
            <a:r>
              <a:rPr lang="en-US" dirty="0"/>
              <a:t>Experience</a:t>
            </a:r>
          </a:p>
          <a:p>
            <a:endParaRPr lang="en-US" dirty="0"/>
          </a:p>
          <a:p>
            <a:r>
              <a:rPr lang="en-US" dirty="0"/>
              <a:t>Expectations</a:t>
            </a:r>
          </a:p>
          <a:p>
            <a:endParaRPr lang="en-US" dirty="0"/>
          </a:p>
          <a:p>
            <a:endParaRPr lang="en-US" dirty="0"/>
          </a:p>
        </p:txBody>
      </p:sp>
      <p:pic>
        <p:nvPicPr>
          <p:cNvPr id="10" name="Picture Placeholder 9" descr="Laptop with phone and calculator">
            <a:extLst>
              <a:ext uri="{FF2B5EF4-FFF2-40B4-BE49-F238E27FC236}">
                <a16:creationId xmlns:a16="http://schemas.microsoft.com/office/drawing/2014/main" id="{781CCE07-EF7D-49AE-897D-6012CAEBF217}"/>
              </a:ext>
            </a:extLst>
          </p:cNvPr>
          <p:cNvPicPr>
            <a:picLocks noGrp="1" noChangeAspect="1"/>
          </p:cNvPicPr>
          <p:nvPr>
            <p:ph type="pic" sz="quarter" idx="15"/>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p:blipFill>
        <p:spPr>
          <a:xfrm>
            <a:off x="5334000" y="0"/>
            <a:ext cx="6858000" cy="6858000"/>
          </a:xfrm>
        </p:spPr>
      </p:pic>
    </p:spTree>
    <p:custDataLst>
      <p:tags r:id="rId1"/>
    </p:custDataLst>
    <p:extLst>
      <p:ext uri="{BB962C8B-B14F-4D97-AF65-F5344CB8AC3E}">
        <p14:creationId xmlns:p14="http://schemas.microsoft.com/office/powerpoint/2010/main" val="2886847419"/>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3BECA74-CF33-433C-99D6-E34CCC36FB5D}"/>
              </a:ext>
            </a:extLst>
          </p:cNvPr>
          <p:cNvSpPr>
            <a:spLocks noGrp="1"/>
          </p:cNvSpPr>
          <p:nvPr>
            <p:ph type="title"/>
          </p:nvPr>
        </p:nvSpPr>
        <p:spPr/>
        <p:txBody>
          <a:bodyPr/>
          <a:lstStyle/>
          <a:p>
            <a:r>
              <a:rPr lang="en-US"/>
              <a:t>Connect to Lab environment</a:t>
            </a:r>
          </a:p>
        </p:txBody>
      </p:sp>
      <p:graphicFrame>
        <p:nvGraphicFramePr>
          <p:cNvPr id="5" name="Diagram 4">
            <a:extLst>
              <a:ext uri="{FF2B5EF4-FFF2-40B4-BE49-F238E27FC236}">
                <a16:creationId xmlns:a16="http://schemas.microsoft.com/office/drawing/2014/main" id="{A2DD21E3-4A48-4F6F-B311-00689A403848}"/>
              </a:ext>
              <a:ext uri="{C183D7F6-B498-43B3-948B-1728B52AA6E4}">
                <adec:decorative xmlns:adec="http://schemas.microsoft.com/office/drawing/2017/decorative" val="1"/>
              </a:ext>
            </a:extLst>
          </p:cNvPr>
          <p:cNvGraphicFramePr/>
          <p:nvPr/>
        </p:nvGraphicFramePr>
        <p:xfrm>
          <a:off x="655637" y="936435"/>
          <a:ext cx="10880725" cy="560152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405265283"/>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3BECA74-CF33-433C-99D6-E34CCC36FB5D}"/>
              </a:ext>
            </a:extLst>
          </p:cNvPr>
          <p:cNvSpPr>
            <a:spLocks noGrp="1"/>
          </p:cNvSpPr>
          <p:nvPr>
            <p:ph type="ctrTitle"/>
          </p:nvPr>
        </p:nvSpPr>
        <p:spPr>
          <a:xfrm>
            <a:off x="485451" y="1223977"/>
            <a:ext cx="4352925" cy="1097280"/>
          </a:xfrm>
        </p:spPr>
        <p:txBody>
          <a:bodyPr wrap="square" anchor="b">
            <a:normAutofit/>
          </a:bodyPr>
          <a:lstStyle/>
          <a:p>
            <a:r>
              <a:rPr lang="en-US" dirty="0"/>
              <a:t>Class Resources</a:t>
            </a:r>
          </a:p>
        </p:txBody>
      </p:sp>
      <p:sp>
        <p:nvSpPr>
          <p:cNvPr id="5" name="Text Placeholder 4">
            <a:extLst>
              <a:ext uri="{FF2B5EF4-FFF2-40B4-BE49-F238E27FC236}">
                <a16:creationId xmlns:a16="http://schemas.microsoft.com/office/drawing/2014/main" id="{7829DFAA-62AD-4BFA-A214-7C2CEB8F5044}"/>
              </a:ext>
            </a:extLst>
          </p:cNvPr>
          <p:cNvSpPr>
            <a:spLocks noGrp="1"/>
          </p:cNvSpPr>
          <p:nvPr>
            <p:ph type="subTitle" idx="1"/>
          </p:nvPr>
        </p:nvSpPr>
        <p:spPr>
          <a:xfrm>
            <a:off x="485451" y="2746466"/>
            <a:ext cx="4352924" cy="1365067"/>
          </a:xfrm>
        </p:spPr>
        <p:txBody>
          <a:bodyPr>
            <a:normAutofit/>
          </a:bodyPr>
          <a:lstStyle/>
          <a:p>
            <a:pPr lvl="0">
              <a:lnSpc>
                <a:spcPct val="90000"/>
              </a:lnSpc>
            </a:pPr>
            <a:r>
              <a:rPr lang="en-AU" dirty="0"/>
              <a:t>Virtual Lab Environment, Slides Decks, Lab Manuals, and Demo Files</a:t>
            </a:r>
            <a:endParaRPr lang="en-US" dirty="0"/>
          </a:p>
        </p:txBody>
      </p:sp>
      <p:pic>
        <p:nvPicPr>
          <p:cNvPr id="6" name="Picture 5" descr="Graphical user interface, text, application, email&#10;&#10;Description automatically generated">
            <a:extLst>
              <a:ext uri="{FF2B5EF4-FFF2-40B4-BE49-F238E27FC236}">
                <a16:creationId xmlns:a16="http://schemas.microsoft.com/office/drawing/2014/main" id="{EF43EFAC-3137-47B8-BA61-81F64DEECA06}"/>
              </a:ext>
            </a:extLst>
          </p:cNvPr>
          <p:cNvPicPr>
            <a:picLocks noChangeAspect="1"/>
          </p:cNvPicPr>
          <p:nvPr/>
        </p:nvPicPr>
        <p:blipFill>
          <a:blip r:embed="rId4"/>
          <a:stretch>
            <a:fillRect/>
          </a:stretch>
        </p:blipFill>
        <p:spPr>
          <a:xfrm>
            <a:off x="5415670" y="799871"/>
            <a:ext cx="6111770" cy="5258256"/>
          </a:xfrm>
          <a:prstGeom prst="rect">
            <a:avLst/>
          </a:prstGeom>
          <a:ln w="228600" cap="sq" cmpd="thickThin">
            <a:solidFill>
              <a:srgbClr val="000000"/>
            </a:solidFill>
            <a:prstDash val="solid"/>
            <a:miter lim="800000"/>
          </a:ln>
          <a:effectLst>
            <a:innerShdw blurRad="76200">
              <a:srgbClr val="000000"/>
            </a:innerShdw>
          </a:effectLst>
        </p:spPr>
      </p:pic>
      <p:sp>
        <p:nvSpPr>
          <p:cNvPr id="7" name="Text Placeholder 4">
            <a:extLst>
              <a:ext uri="{FF2B5EF4-FFF2-40B4-BE49-F238E27FC236}">
                <a16:creationId xmlns:a16="http://schemas.microsoft.com/office/drawing/2014/main" id="{346B8B0C-1B19-4EEB-B2BC-494DB88B530F}"/>
              </a:ext>
            </a:extLst>
          </p:cNvPr>
          <p:cNvSpPr txBox="1">
            <a:spLocks/>
          </p:cNvSpPr>
          <p:nvPr/>
        </p:nvSpPr>
        <p:spPr>
          <a:xfrm>
            <a:off x="485451" y="4225592"/>
            <a:ext cx="4352924" cy="311150"/>
          </a:xfrm>
          <a:prstGeom prst="rect">
            <a:avLst/>
          </a:prstGeom>
        </p:spPr>
        <p:txBody>
          <a:bodyPr vert="horz" lIns="0" tIns="0" rIns="0" bIns="0" rtlCol="0">
            <a:normAutofit/>
          </a:bodyPr>
          <a:lstStyle>
            <a:lvl1pPr marL="0" indent="0" algn="l" defTabSz="932688" rtl="0" eaLnBrk="1" latinLnBrk="0" hangingPunct="1">
              <a:lnSpc>
                <a:spcPct val="100000"/>
              </a:lnSpc>
              <a:spcBef>
                <a:spcPts val="672"/>
              </a:spcBef>
              <a:buClr>
                <a:schemeClr val="tx1"/>
              </a:buClr>
              <a:buSzPct val="90000"/>
              <a:buFontTx/>
              <a:buNone/>
              <a:defRPr lang="en-US" sz="2200" kern="1200" spc="0" baseline="0">
                <a:solidFill>
                  <a:schemeClr val="bg1"/>
                </a:solidFill>
                <a:latin typeface="+mn-lt"/>
                <a:ea typeface="+mn-ea"/>
                <a:cs typeface="Segoe UI" panose="020B0502040204020203" pitchFamily="34" charset="0"/>
              </a:defRPr>
            </a:lvl1pPr>
            <a:lvl2pPr marL="0" indent="0" algn="l" defTabSz="932688" rtl="0" eaLnBrk="1" latinLnBrk="0" hangingPunct="1">
              <a:lnSpc>
                <a:spcPct val="100000"/>
              </a:lnSpc>
              <a:spcBef>
                <a:spcPts val="672"/>
              </a:spcBef>
              <a:buClr>
                <a:schemeClr val="tx1"/>
              </a:buClr>
              <a:buSzPct val="90000"/>
              <a:buFontTx/>
              <a:buNone/>
              <a:defRPr lang="en-US" sz="2200" kern="1200" spc="0" baseline="0">
                <a:solidFill>
                  <a:schemeClr val="bg1"/>
                </a:solidFill>
                <a:latin typeface="+mn-lt"/>
                <a:ea typeface="+mn-ea"/>
                <a:cs typeface="+mn-cs"/>
              </a:defRPr>
            </a:lvl2pPr>
            <a:lvl3pPr marL="0" indent="0" algn="l" defTabSz="932688" rtl="0" eaLnBrk="1" latinLnBrk="0" hangingPunct="1">
              <a:lnSpc>
                <a:spcPct val="100000"/>
              </a:lnSpc>
              <a:spcBef>
                <a:spcPts val="672"/>
              </a:spcBef>
              <a:buClr>
                <a:schemeClr val="tx1"/>
              </a:buClr>
              <a:buSzPct val="90000"/>
              <a:buFontTx/>
              <a:buNone/>
              <a:defRPr lang="en-US" sz="2200" kern="1200" spc="0" baseline="0">
                <a:solidFill>
                  <a:schemeClr val="bg1"/>
                </a:solidFill>
                <a:latin typeface="+mn-lt"/>
                <a:ea typeface="+mn-ea"/>
                <a:cs typeface="+mn-cs"/>
              </a:defRPr>
            </a:lvl3pPr>
            <a:lvl4pPr marL="0" indent="0" algn="l" defTabSz="932688" rtl="0" eaLnBrk="1" latinLnBrk="0" hangingPunct="1">
              <a:lnSpc>
                <a:spcPct val="100000"/>
              </a:lnSpc>
              <a:spcBef>
                <a:spcPts val="672"/>
              </a:spcBef>
              <a:buClr>
                <a:schemeClr val="tx1"/>
              </a:buClr>
              <a:buSzPct val="90000"/>
              <a:buFontTx/>
              <a:buNone/>
              <a:defRPr lang="en-US" sz="2200" kern="1200" spc="0" baseline="0">
                <a:solidFill>
                  <a:schemeClr val="bg1"/>
                </a:solidFill>
                <a:latin typeface="+mn-lt"/>
                <a:ea typeface="+mn-ea"/>
                <a:cs typeface="+mn-cs"/>
              </a:defRPr>
            </a:lvl4pPr>
            <a:lvl5pPr marL="0" indent="0" algn="l" defTabSz="932688" rtl="0" eaLnBrk="1" latinLnBrk="0" hangingPunct="1">
              <a:lnSpc>
                <a:spcPct val="110000"/>
              </a:lnSpc>
              <a:spcBef>
                <a:spcPts val="336"/>
              </a:spcBef>
              <a:buClr>
                <a:schemeClr val="tx1"/>
              </a:buClr>
              <a:buSzPct val="90000"/>
              <a:buFont typeface="Wingdings" panose="05000000000000000000" pitchFamily="2" charset="2"/>
              <a:buNone/>
              <a:defRPr lang="en-US" sz="2200" kern="1200" spc="0" baseline="0">
                <a:solidFill>
                  <a:schemeClr val="bg1"/>
                </a:solidFill>
                <a:latin typeface="+mn-lt"/>
                <a:ea typeface="+mn-ea"/>
                <a:cs typeface="+mn-cs"/>
              </a:defRPr>
            </a:lvl5pPr>
            <a:lvl6pPr marL="0" indent="0" algn="l" defTabSz="932688" rtl="0" eaLnBrk="1" latinLnBrk="0" hangingPunct="1">
              <a:lnSpc>
                <a:spcPct val="100000"/>
              </a:lnSpc>
              <a:spcBef>
                <a:spcPts val="672"/>
              </a:spcBef>
              <a:buSzPct val="100000"/>
              <a:buFontTx/>
              <a:buNone/>
              <a:defRPr sz="2200" kern="1200" baseline="0">
                <a:solidFill>
                  <a:schemeClr val="bg1"/>
                </a:solidFill>
                <a:latin typeface="+mn-lt"/>
                <a:ea typeface="+mn-ea"/>
                <a:cs typeface="+mn-cs"/>
              </a:defRPr>
            </a:lvl6pPr>
            <a:lvl7pPr marL="0" indent="0" algn="l" defTabSz="932688" rtl="0" eaLnBrk="1" latinLnBrk="0" hangingPunct="1">
              <a:lnSpc>
                <a:spcPct val="100000"/>
              </a:lnSpc>
              <a:spcBef>
                <a:spcPts val="672"/>
              </a:spcBef>
              <a:buSzPct val="90000"/>
              <a:buFontTx/>
              <a:buNone/>
              <a:defRPr lang="en-US" sz="2200" b="0" i="0" u="none" kern="1200" baseline="0" noProof="0">
                <a:ln>
                  <a:noFill/>
                </a:ln>
                <a:solidFill>
                  <a:schemeClr val="bg1"/>
                </a:solidFill>
                <a:latin typeface="+mn-lt"/>
                <a:ea typeface="+mn-ea"/>
                <a:cs typeface="Arial" panose="020B0604020202020204" pitchFamily="34" charset="0"/>
              </a:defRPr>
            </a:lvl7pPr>
            <a:lvl8pPr marL="0" indent="0" algn="l" defTabSz="932688" rtl="0" eaLnBrk="1" latinLnBrk="0" hangingPunct="1">
              <a:lnSpc>
                <a:spcPct val="100000"/>
              </a:lnSpc>
              <a:spcBef>
                <a:spcPts val="672"/>
              </a:spcBef>
              <a:buSzPct val="90000"/>
              <a:buFontTx/>
              <a:buNone/>
              <a:defRPr sz="2200" kern="1200" baseline="0">
                <a:solidFill>
                  <a:schemeClr val="bg1"/>
                </a:solidFill>
                <a:latin typeface="+mn-lt"/>
                <a:ea typeface="+mn-ea"/>
                <a:cs typeface="+mn-cs"/>
              </a:defRPr>
            </a:lvl8pPr>
            <a:lvl9pPr marL="0" indent="0" algn="l" defTabSz="932688" rtl="0" eaLnBrk="1" latinLnBrk="0" hangingPunct="1">
              <a:lnSpc>
                <a:spcPct val="100000"/>
              </a:lnSpc>
              <a:spcBef>
                <a:spcPts val="672"/>
              </a:spcBef>
              <a:buSzPct val="90000"/>
              <a:buFontTx/>
              <a:buNone/>
              <a:defRPr sz="2200" kern="1200" baseline="0">
                <a:solidFill>
                  <a:schemeClr val="bg1"/>
                </a:solidFill>
                <a:latin typeface="+mn-lt"/>
                <a:ea typeface="+mn-ea"/>
                <a:cs typeface="+mn-cs"/>
              </a:defRPr>
            </a:lvl9pPr>
          </a:lstStyle>
          <a:p>
            <a:pPr>
              <a:lnSpc>
                <a:spcPct val="90000"/>
              </a:lnSpc>
            </a:pPr>
            <a:r>
              <a:rPr lang="en-US"/>
              <a:t>In the Labs section, click Launch</a:t>
            </a:r>
            <a:endParaRPr lang="en-US" dirty="0"/>
          </a:p>
        </p:txBody>
      </p:sp>
      <p:sp>
        <p:nvSpPr>
          <p:cNvPr id="9" name="Rectangle 8">
            <a:extLst>
              <a:ext uri="{FF2B5EF4-FFF2-40B4-BE49-F238E27FC236}">
                <a16:creationId xmlns:a16="http://schemas.microsoft.com/office/drawing/2014/main" id="{72AFD3A9-D89D-4F3A-8FC4-AF294F4A1674}"/>
              </a:ext>
            </a:extLst>
          </p:cNvPr>
          <p:cNvSpPr/>
          <p:nvPr/>
        </p:nvSpPr>
        <p:spPr bwMode="auto">
          <a:xfrm>
            <a:off x="6384864" y="1982391"/>
            <a:ext cx="1727583" cy="535508"/>
          </a:xfrm>
          <a:prstGeom prst="rect">
            <a:avLst/>
          </a:pr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131327606"/>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3BECA74-CF33-433C-99D6-E34CCC36FB5D}"/>
              </a:ext>
            </a:extLst>
          </p:cNvPr>
          <p:cNvSpPr>
            <a:spLocks noGrp="1"/>
          </p:cNvSpPr>
          <p:nvPr>
            <p:ph type="title"/>
          </p:nvPr>
        </p:nvSpPr>
        <p:spPr/>
        <p:txBody>
          <a:bodyPr/>
          <a:lstStyle/>
          <a:p>
            <a:r>
              <a:rPr lang="en-US" dirty="0"/>
              <a:t>Lab environment</a:t>
            </a:r>
          </a:p>
        </p:txBody>
      </p:sp>
      <p:sp>
        <p:nvSpPr>
          <p:cNvPr id="5" name="Text Placeholder 4">
            <a:extLst>
              <a:ext uri="{FF2B5EF4-FFF2-40B4-BE49-F238E27FC236}">
                <a16:creationId xmlns:a16="http://schemas.microsoft.com/office/drawing/2014/main" id="{7829DFAA-62AD-4BFA-A214-7C2CEB8F5044}"/>
              </a:ext>
            </a:extLst>
          </p:cNvPr>
          <p:cNvSpPr>
            <a:spLocks noGrp="1"/>
          </p:cNvSpPr>
          <p:nvPr>
            <p:ph type="body" sz="quarter" idx="10"/>
          </p:nvPr>
        </p:nvSpPr>
        <p:spPr>
          <a:xfrm>
            <a:off x="655638" y="2802023"/>
            <a:ext cx="4352925" cy="2643188"/>
          </a:xfrm>
        </p:spPr>
        <p:txBody>
          <a:bodyPr/>
          <a:lstStyle/>
          <a:p>
            <a:pPr lvl="0"/>
            <a:r>
              <a:rPr lang="en-US" dirty="0"/>
              <a:t>Lab Instructions are shown on the right side of the virtual machine. </a:t>
            </a:r>
          </a:p>
        </p:txBody>
      </p:sp>
      <p:sp>
        <p:nvSpPr>
          <p:cNvPr id="6" name="Picture Placeholder 5">
            <a:extLst>
              <a:ext uri="{FF2B5EF4-FFF2-40B4-BE49-F238E27FC236}">
                <a16:creationId xmlns:a16="http://schemas.microsoft.com/office/drawing/2014/main" id="{99F4DD2A-D147-4C8D-821D-32073CCCB49A}"/>
              </a:ext>
              <a:ext uri="{C183D7F6-B498-43B3-948B-1728B52AA6E4}">
                <adec:decorative xmlns:adec="http://schemas.microsoft.com/office/drawing/2017/decorative" val="1"/>
              </a:ext>
            </a:extLst>
          </p:cNvPr>
          <p:cNvSpPr>
            <a:spLocks noGrp="1"/>
          </p:cNvSpPr>
          <p:nvPr>
            <p:ph type="pic" sz="quarter" idx="15"/>
          </p:nvPr>
        </p:nvSpPr>
        <p:spPr/>
      </p:sp>
      <p:pic>
        <p:nvPicPr>
          <p:cNvPr id="8" name="Picture 7" descr="Graphical user interface, text, application, email&#10;&#10;Description automatically generated">
            <a:extLst>
              <a:ext uri="{FF2B5EF4-FFF2-40B4-BE49-F238E27FC236}">
                <a16:creationId xmlns:a16="http://schemas.microsoft.com/office/drawing/2014/main" id="{E99678EB-0468-4B0A-8684-751719E13B6A}"/>
              </a:ext>
            </a:extLst>
          </p:cNvPr>
          <p:cNvPicPr>
            <a:picLocks noChangeAspect="1"/>
          </p:cNvPicPr>
          <p:nvPr/>
        </p:nvPicPr>
        <p:blipFill>
          <a:blip r:embed="rId4"/>
          <a:stretch>
            <a:fillRect/>
          </a:stretch>
        </p:blipFill>
        <p:spPr>
          <a:xfrm>
            <a:off x="6400800" y="781192"/>
            <a:ext cx="5063830" cy="5554487"/>
          </a:xfrm>
          <a:prstGeom prst="rect">
            <a:avLst/>
          </a:prstGeom>
        </p:spPr>
      </p:pic>
      <p:sp>
        <p:nvSpPr>
          <p:cNvPr id="2" name="Rectangle 1">
            <a:extLst>
              <a:ext uri="{FF2B5EF4-FFF2-40B4-BE49-F238E27FC236}">
                <a16:creationId xmlns:a16="http://schemas.microsoft.com/office/drawing/2014/main" id="{FED64B6B-D2DA-42DA-8B3E-A94CFC916144}"/>
              </a:ext>
            </a:extLst>
          </p:cNvPr>
          <p:cNvSpPr/>
          <p:nvPr/>
        </p:nvSpPr>
        <p:spPr bwMode="auto">
          <a:xfrm>
            <a:off x="6278252" y="1216058"/>
            <a:ext cx="833948" cy="451255"/>
          </a:xfrm>
          <a:prstGeom prst="rect">
            <a:avLst/>
          </a:pr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224727163"/>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3BECA74-CF33-433C-99D6-E34CCC36FB5D}"/>
              </a:ext>
            </a:extLst>
          </p:cNvPr>
          <p:cNvSpPr>
            <a:spLocks noGrp="1"/>
          </p:cNvSpPr>
          <p:nvPr>
            <p:ph type="title"/>
          </p:nvPr>
        </p:nvSpPr>
        <p:spPr>
          <a:xfrm>
            <a:off x="421105" y="289368"/>
            <a:ext cx="4352926" cy="1275262"/>
          </a:xfrm>
        </p:spPr>
        <p:txBody>
          <a:bodyPr/>
          <a:lstStyle/>
          <a:p>
            <a:r>
              <a:rPr lang="en-US" dirty="0"/>
              <a:t>Azure Portal Environment </a:t>
            </a:r>
          </a:p>
        </p:txBody>
      </p:sp>
      <p:sp>
        <p:nvSpPr>
          <p:cNvPr id="5" name="Text Placeholder 4">
            <a:extLst>
              <a:ext uri="{FF2B5EF4-FFF2-40B4-BE49-F238E27FC236}">
                <a16:creationId xmlns:a16="http://schemas.microsoft.com/office/drawing/2014/main" id="{7829DFAA-62AD-4BFA-A214-7C2CEB8F5044}"/>
              </a:ext>
            </a:extLst>
          </p:cNvPr>
          <p:cNvSpPr>
            <a:spLocks noGrp="1"/>
          </p:cNvSpPr>
          <p:nvPr>
            <p:ph type="body" sz="quarter" idx="10"/>
          </p:nvPr>
        </p:nvSpPr>
        <p:spPr>
          <a:xfrm>
            <a:off x="551624" y="1975430"/>
            <a:ext cx="4352925" cy="2643188"/>
          </a:xfrm>
        </p:spPr>
        <p:txBody>
          <a:bodyPr/>
          <a:lstStyle/>
          <a:p>
            <a:pPr lvl="0"/>
            <a:r>
              <a:rPr lang="en-US" dirty="0"/>
              <a:t>You must access from the Azure Virtual Machine.</a:t>
            </a:r>
          </a:p>
          <a:p>
            <a:pPr lvl="0"/>
            <a:endParaRPr lang="en-US" dirty="0"/>
          </a:p>
          <a:p>
            <a:pPr lvl="0"/>
            <a:r>
              <a:rPr lang="en-US" dirty="0"/>
              <a:t>Each lab has a unique Subscription, Username, and Password</a:t>
            </a:r>
          </a:p>
          <a:p>
            <a:pPr lvl="0"/>
            <a:endParaRPr lang="en-US" dirty="0"/>
          </a:p>
          <a:p>
            <a:r>
              <a:rPr lang="en-US" dirty="0"/>
              <a:t>You can click on the </a:t>
            </a:r>
            <a:r>
              <a:rPr lang="en-US" dirty="0">
                <a:solidFill>
                  <a:schemeClr val="accent4">
                    <a:lumMod val="60000"/>
                    <a:lumOff val="40000"/>
                  </a:schemeClr>
                </a:solidFill>
              </a:rPr>
              <a:t>T</a:t>
            </a:r>
            <a:r>
              <a:rPr lang="en-US" dirty="0"/>
              <a:t> next to Username and Password to paste in the virtual machine.</a:t>
            </a:r>
          </a:p>
          <a:p>
            <a:pPr lvl="0"/>
            <a:endParaRPr lang="en-US" dirty="0"/>
          </a:p>
          <a:p>
            <a:pPr lvl="0"/>
            <a:endParaRPr lang="en-US" dirty="0"/>
          </a:p>
        </p:txBody>
      </p:sp>
      <p:sp>
        <p:nvSpPr>
          <p:cNvPr id="6" name="Picture Placeholder 5">
            <a:extLst>
              <a:ext uri="{FF2B5EF4-FFF2-40B4-BE49-F238E27FC236}">
                <a16:creationId xmlns:a16="http://schemas.microsoft.com/office/drawing/2014/main" id="{99F4DD2A-D147-4C8D-821D-32073CCCB49A}"/>
              </a:ext>
              <a:ext uri="{C183D7F6-B498-43B3-948B-1728B52AA6E4}">
                <adec:decorative xmlns:adec="http://schemas.microsoft.com/office/drawing/2017/decorative" val="1"/>
              </a:ext>
            </a:extLst>
          </p:cNvPr>
          <p:cNvSpPr>
            <a:spLocks noGrp="1"/>
          </p:cNvSpPr>
          <p:nvPr>
            <p:ph type="pic" sz="quarter" idx="15"/>
          </p:nvPr>
        </p:nvSpPr>
        <p:spPr/>
      </p:sp>
      <p:pic>
        <p:nvPicPr>
          <p:cNvPr id="3" name="Picture 2" descr="Graphical user interface, text, application, chat or text message&#10;&#10;Description automatically generated">
            <a:extLst>
              <a:ext uri="{FF2B5EF4-FFF2-40B4-BE49-F238E27FC236}">
                <a16:creationId xmlns:a16="http://schemas.microsoft.com/office/drawing/2014/main" id="{B0081D9F-B9C2-4D77-938B-901031C2B6B3}"/>
              </a:ext>
            </a:extLst>
          </p:cNvPr>
          <p:cNvPicPr>
            <a:picLocks noChangeAspect="1"/>
          </p:cNvPicPr>
          <p:nvPr/>
        </p:nvPicPr>
        <p:blipFill>
          <a:blip r:embed="rId4"/>
          <a:stretch>
            <a:fillRect/>
          </a:stretch>
        </p:blipFill>
        <p:spPr>
          <a:xfrm>
            <a:off x="6453939" y="926999"/>
            <a:ext cx="4618120" cy="4740051"/>
          </a:xfrm>
          <a:prstGeom prst="rect">
            <a:avLst/>
          </a:prstGeom>
        </p:spPr>
      </p:pic>
      <p:sp>
        <p:nvSpPr>
          <p:cNvPr id="12" name="Rectangle 11">
            <a:extLst>
              <a:ext uri="{FF2B5EF4-FFF2-40B4-BE49-F238E27FC236}">
                <a16:creationId xmlns:a16="http://schemas.microsoft.com/office/drawing/2014/main" id="{21F6AC04-3896-4C88-BDA4-E68F124F32DC}"/>
              </a:ext>
            </a:extLst>
          </p:cNvPr>
          <p:cNvSpPr/>
          <p:nvPr/>
        </p:nvSpPr>
        <p:spPr bwMode="auto">
          <a:xfrm>
            <a:off x="6561055" y="1858363"/>
            <a:ext cx="4383464" cy="1246981"/>
          </a:xfrm>
          <a:prstGeom prst="rect">
            <a:avLst/>
          </a:pr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highlight>
                <a:srgbClr val="FFFF00"/>
              </a:highlight>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187364635"/>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3BECA74-CF33-433C-99D6-E34CCC36FB5D}"/>
              </a:ext>
            </a:extLst>
          </p:cNvPr>
          <p:cNvSpPr>
            <a:spLocks noGrp="1"/>
          </p:cNvSpPr>
          <p:nvPr>
            <p:ph type="title"/>
          </p:nvPr>
        </p:nvSpPr>
        <p:spPr>
          <a:xfrm>
            <a:off x="350265" y="639663"/>
            <a:ext cx="4352926" cy="2493962"/>
          </a:xfrm>
        </p:spPr>
        <p:txBody>
          <a:bodyPr/>
          <a:lstStyle/>
          <a:p>
            <a:r>
              <a:rPr lang="en-US" dirty="0"/>
              <a:t>Virtual Machine </a:t>
            </a:r>
            <a:br>
              <a:rPr lang="en-US" dirty="0"/>
            </a:br>
            <a:r>
              <a:rPr lang="en-US" dirty="0"/>
              <a:t>Lab Environment </a:t>
            </a:r>
          </a:p>
        </p:txBody>
      </p:sp>
      <p:sp>
        <p:nvSpPr>
          <p:cNvPr id="5" name="Text Placeholder 4">
            <a:extLst>
              <a:ext uri="{FF2B5EF4-FFF2-40B4-BE49-F238E27FC236}">
                <a16:creationId xmlns:a16="http://schemas.microsoft.com/office/drawing/2014/main" id="{7829DFAA-62AD-4BFA-A214-7C2CEB8F5044}"/>
              </a:ext>
            </a:extLst>
          </p:cNvPr>
          <p:cNvSpPr>
            <a:spLocks noGrp="1"/>
          </p:cNvSpPr>
          <p:nvPr>
            <p:ph type="body" sz="quarter" idx="10"/>
          </p:nvPr>
        </p:nvSpPr>
        <p:spPr>
          <a:xfrm>
            <a:off x="532771" y="2745678"/>
            <a:ext cx="4352925" cy="2643188"/>
          </a:xfrm>
        </p:spPr>
        <p:txBody>
          <a:bodyPr/>
          <a:lstStyle/>
          <a:p>
            <a:pPr lvl="0"/>
            <a:r>
              <a:rPr lang="en-US" dirty="0"/>
              <a:t>Use the </a:t>
            </a:r>
            <a:r>
              <a:rPr lang="en-US" dirty="0" err="1"/>
              <a:t>Ctrl+Alt+Delete</a:t>
            </a:r>
            <a:r>
              <a:rPr lang="en-US" dirty="0"/>
              <a:t> button to logon to the virtual machine.</a:t>
            </a:r>
          </a:p>
          <a:p>
            <a:pPr lvl="0"/>
            <a:endParaRPr lang="en-US" dirty="0"/>
          </a:p>
          <a:p>
            <a:pPr lvl="0"/>
            <a:r>
              <a:rPr lang="en-US" dirty="0"/>
              <a:t>You can click on the </a:t>
            </a:r>
            <a:r>
              <a:rPr lang="en-US" dirty="0">
                <a:solidFill>
                  <a:schemeClr val="accent4">
                    <a:lumMod val="60000"/>
                    <a:lumOff val="40000"/>
                  </a:schemeClr>
                </a:solidFill>
              </a:rPr>
              <a:t>T</a:t>
            </a:r>
            <a:r>
              <a:rPr lang="en-US" dirty="0"/>
              <a:t> next to Username and Password to paste in the virtual machine.</a:t>
            </a:r>
          </a:p>
        </p:txBody>
      </p:sp>
      <p:sp>
        <p:nvSpPr>
          <p:cNvPr id="6" name="Picture Placeholder 5">
            <a:extLst>
              <a:ext uri="{FF2B5EF4-FFF2-40B4-BE49-F238E27FC236}">
                <a16:creationId xmlns:a16="http://schemas.microsoft.com/office/drawing/2014/main" id="{99F4DD2A-D147-4C8D-821D-32073CCCB49A}"/>
              </a:ext>
              <a:ext uri="{C183D7F6-B498-43B3-948B-1728B52AA6E4}">
                <adec:decorative xmlns:adec="http://schemas.microsoft.com/office/drawing/2017/decorative" val="1"/>
              </a:ext>
            </a:extLst>
          </p:cNvPr>
          <p:cNvSpPr>
            <a:spLocks noGrp="1"/>
          </p:cNvSpPr>
          <p:nvPr>
            <p:ph type="pic" sz="quarter" idx="15"/>
          </p:nvPr>
        </p:nvSpPr>
        <p:spPr/>
      </p:sp>
      <p:pic>
        <p:nvPicPr>
          <p:cNvPr id="3" name="Picture 2" descr="Graphical user interface, text, application, chat or text message&#10;&#10;Description automatically generated">
            <a:extLst>
              <a:ext uri="{FF2B5EF4-FFF2-40B4-BE49-F238E27FC236}">
                <a16:creationId xmlns:a16="http://schemas.microsoft.com/office/drawing/2014/main" id="{B0081D9F-B9C2-4D77-938B-901031C2B6B3}"/>
              </a:ext>
            </a:extLst>
          </p:cNvPr>
          <p:cNvPicPr>
            <a:picLocks noChangeAspect="1"/>
          </p:cNvPicPr>
          <p:nvPr/>
        </p:nvPicPr>
        <p:blipFill>
          <a:blip r:embed="rId4"/>
          <a:stretch>
            <a:fillRect/>
          </a:stretch>
        </p:blipFill>
        <p:spPr>
          <a:xfrm>
            <a:off x="6453939" y="926999"/>
            <a:ext cx="4618120" cy="4740051"/>
          </a:xfrm>
          <a:prstGeom prst="rect">
            <a:avLst/>
          </a:prstGeom>
        </p:spPr>
      </p:pic>
      <p:sp>
        <p:nvSpPr>
          <p:cNvPr id="12" name="Rectangle 11">
            <a:extLst>
              <a:ext uri="{FF2B5EF4-FFF2-40B4-BE49-F238E27FC236}">
                <a16:creationId xmlns:a16="http://schemas.microsoft.com/office/drawing/2014/main" id="{21F6AC04-3896-4C88-BDA4-E68F124F32DC}"/>
              </a:ext>
            </a:extLst>
          </p:cNvPr>
          <p:cNvSpPr/>
          <p:nvPr/>
        </p:nvSpPr>
        <p:spPr bwMode="auto">
          <a:xfrm>
            <a:off x="6523348" y="3723589"/>
            <a:ext cx="4468306" cy="1665278"/>
          </a:xfrm>
          <a:prstGeom prst="rect">
            <a:avLst/>
          </a:pr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highlight>
                <a:srgbClr val="FFFF00"/>
              </a:highlight>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838357464"/>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8679F2-02A3-45D6-B5C7-23FD3301CC2E}"/>
              </a:ext>
            </a:extLst>
          </p:cNvPr>
          <p:cNvSpPr>
            <a:spLocks noGrp="1"/>
          </p:cNvSpPr>
          <p:nvPr>
            <p:ph type="title"/>
          </p:nvPr>
        </p:nvSpPr>
        <p:spPr>
          <a:xfrm>
            <a:off x="570795" y="254524"/>
            <a:ext cx="4352926" cy="1681898"/>
          </a:xfrm>
        </p:spPr>
        <p:txBody>
          <a:bodyPr/>
          <a:lstStyle/>
          <a:p>
            <a:r>
              <a:rPr lang="en-US" dirty="0"/>
              <a:t>Lab Time Remaining</a:t>
            </a:r>
          </a:p>
        </p:txBody>
      </p:sp>
      <p:sp>
        <p:nvSpPr>
          <p:cNvPr id="3" name="Text Placeholder 2">
            <a:extLst>
              <a:ext uri="{FF2B5EF4-FFF2-40B4-BE49-F238E27FC236}">
                <a16:creationId xmlns:a16="http://schemas.microsoft.com/office/drawing/2014/main" id="{8D97F1AA-8831-46A6-999A-E30ADE311DBF}"/>
              </a:ext>
            </a:extLst>
          </p:cNvPr>
          <p:cNvSpPr>
            <a:spLocks noGrp="1"/>
          </p:cNvSpPr>
          <p:nvPr>
            <p:ph type="body" sz="quarter" idx="10"/>
          </p:nvPr>
        </p:nvSpPr>
        <p:spPr>
          <a:xfrm>
            <a:off x="470720" y="1652275"/>
            <a:ext cx="4352925" cy="3269304"/>
          </a:xfrm>
        </p:spPr>
        <p:txBody>
          <a:bodyPr/>
          <a:lstStyle/>
          <a:p>
            <a:pPr marL="342900" indent="-342900">
              <a:buFont typeface="Arial" panose="020B0604020202020204" pitchFamily="34" charset="0"/>
              <a:buChar char="•"/>
            </a:pPr>
            <a:r>
              <a:rPr lang="en-US" dirty="0"/>
              <a:t>Select </a:t>
            </a:r>
            <a:r>
              <a:rPr lang="en-US" b="1" dirty="0"/>
              <a:t>Save</a:t>
            </a:r>
            <a:r>
              <a:rPr lang="en-US" dirty="0"/>
              <a:t> before leaving the Lab environment.  </a:t>
            </a:r>
          </a:p>
          <a:p>
            <a:pPr marL="342900" indent="-342900">
              <a:buFont typeface="Arial" panose="020B0604020202020204" pitchFamily="34" charset="0"/>
              <a:buChar char="•"/>
            </a:pPr>
            <a:r>
              <a:rPr lang="en-US" dirty="0"/>
              <a:t>If you click </a:t>
            </a:r>
            <a:r>
              <a:rPr lang="en-US" b="1" dirty="0"/>
              <a:t>End </a:t>
            </a:r>
            <a:r>
              <a:rPr lang="en-US" dirty="0"/>
              <a:t>the lab will reset.</a:t>
            </a:r>
          </a:p>
          <a:p>
            <a:pPr marL="342900" indent="-342900">
              <a:buFont typeface="Arial" panose="020B0604020202020204" pitchFamily="34" charset="0"/>
              <a:buChar char="•"/>
            </a:pPr>
            <a:r>
              <a:rPr lang="en-US" dirty="0"/>
              <a:t>You can save up to 5 labs for up to 7 days. </a:t>
            </a:r>
          </a:p>
          <a:p>
            <a:pPr marL="342900" indent="-342900">
              <a:buFont typeface="Arial" panose="020B0604020202020204" pitchFamily="34" charset="0"/>
              <a:buChar char="•"/>
            </a:pPr>
            <a:r>
              <a:rPr lang="en-US" dirty="0"/>
              <a:t>The lab environment is available for 180 days.</a:t>
            </a:r>
          </a:p>
          <a:p>
            <a:pPr marL="342900" indent="-342900">
              <a:buFont typeface="Arial" panose="020B0604020202020204" pitchFamily="34" charset="0"/>
              <a:buChar char="•"/>
            </a:pPr>
            <a:r>
              <a:rPr lang="en-US" dirty="0"/>
              <a:t>Split Windows will allow you to move the instructions to a separate screen.</a:t>
            </a:r>
          </a:p>
        </p:txBody>
      </p:sp>
      <p:sp>
        <p:nvSpPr>
          <p:cNvPr id="9" name="Picture Placeholder 8">
            <a:extLst>
              <a:ext uri="{FF2B5EF4-FFF2-40B4-BE49-F238E27FC236}">
                <a16:creationId xmlns:a16="http://schemas.microsoft.com/office/drawing/2014/main" id="{74F5144A-51FD-4A09-A25E-51FE619C822D}"/>
              </a:ext>
              <a:ext uri="{C183D7F6-B498-43B3-948B-1728B52AA6E4}">
                <adec:decorative xmlns:adec="http://schemas.microsoft.com/office/drawing/2017/decorative" val="1"/>
              </a:ext>
            </a:extLst>
          </p:cNvPr>
          <p:cNvSpPr>
            <a:spLocks noGrp="1"/>
          </p:cNvSpPr>
          <p:nvPr>
            <p:ph type="pic" sz="quarter" idx="15"/>
          </p:nvPr>
        </p:nvSpPr>
        <p:spPr>
          <a:xfrm>
            <a:off x="5314711" y="-45850"/>
            <a:ext cx="6858000" cy="6858000"/>
          </a:xfrm>
        </p:spPr>
      </p:sp>
      <p:pic>
        <p:nvPicPr>
          <p:cNvPr id="5" name="Picture 4" descr="Graphical user interface, application&#10;&#10;Description automatically generated">
            <a:extLst>
              <a:ext uri="{FF2B5EF4-FFF2-40B4-BE49-F238E27FC236}">
                <a16:creationId xmlns:a16="http://schemas.microsoft.com/office/drawing/2014/main" id="{0EF37D7E-2332-4F2C-9876-E009FF1A5D54}"/>
              </a:ext>
            </a:extLst>
          </p:cNvPr>
          <p:cNvPicPr>
            <a:picLocks noChangeAspect="1"/>
          </p:cNvPicPr>
          <p:nvPr/>
        </p:nvPicPr>
        <p:blipFill>
          <a:blip r:embed="rId4"/>
          <a:stretch>
            <a:fillRect/>
          </a:stretch>
        </p:blipFill>
        <p:spPr>
          <a:xfrm>
            <a:off x="5462408" y="2393169"/>
            <a:ext cx="6187976" cy="1638442"/>
          </a:xfrm>
          <a:prstGeom prst="rect">
            <a:avLst/>
          </a:prstGeom>
        </p:spPr>
      </p:pic>
      <p:sp>
        <p:nvSpPr>
          <p:cNvPr id="6" name="Oval 5">
            <a:extLst>
              <a:ext uri="{FF2B5EF4-FFF2-40B4-BE49-F238E27FC236}">
                <a16:creationId xmlns:a16="http://schemas.microsoft.com/office/drawing/2014/main" id="{2D82C392-2F6A-4BED-B180-0C5DE3D7F8D8}"/>
              </a:ext>
              <a:ext uri="{C183D7F6-B498-43B3-948B-1728B52AA6E4}">
                <adec:decorative xmlns:adec="http://schemas.microsoft.com/office/drawing/2017/decorative" val="1"/>
              </a:ext>
            </a:extLst>
          </p:cNvPr>
          <p:cNvSpPr/>
          <p:nvPr/>
        </p:nvSpPr>
        <p:spPr bwMode="auto">
          <a:xfrm>
            <a:off x="9794753" y="2232067"/>
            <a:ext cx="2167588" cy="2149182"/>
          </a:xfrm>
          <a:prstGeom prst="ellipse">
            <a:avLst/>
          </a:prstGeom>
          <a:noFill/>
          <a:ln w="57150" cap="flat" cmpd="sng" algn="ctr">
            <a:solidFill>
              <a:schemeClr val="accent3"/>
            </a:solidFill>
            <a:prstDash val="solid"/>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4132161427"/>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Get Ready to Participate</a:t>
            </a:r>
          </a:p>
        </p:txBody>
      </p:sp>
      <p:sp>
        <p:nvSpPr>
          <p:cNvPr id="5" name="Subtitle 4">
            <a:extLst>
              <a:ext uri="{FF2B5EF4-FFF2-40B4-BE49-F238E27FC236}">
                <a16:creationId xmlns:a16="http://schemas.microsoft.com/office/drawing/2014/main" id="{3C15AFDD-CAF8-48C4-8365-4B6BEA01FF73}"/>
              </a:ext>
            </a:extLst>
          </p:cNvPr>
          <p:cNvSpPr>
            <a:spLocks noGrp="1"/>
          </p:cNvSpPr>
          <p:nvPr>
            <p:ph type="subTitle" idx="1"/>
          </p:nvPr>
        </p:nvSpPr>
        <p:spPr/>
        <p:txBody>
          <a:bodyPr/>
          <a:lstStyle/>
          <a:p>
            <a:endParaRPr lang="en-US"/>
          </a:p>
        </p:txBody>
      </p:sp>
      <p:sp>
        <p:nvSpPr>
          <p:cNvPr id="3" name="Text Placeholder 2"/>
          <p:cNvSpPr>
            <a:spLocks noGrp="1"/>
          </p:cNvSpPr>
          <p:nvPr>
            <p:ph type="body" sz="quarter" idx="16"/>
          </p:nvPr>
        </p:nvSpPr>
        <p:spPr/>
        <p:txBody>
          <a:bodyPr/>
          <a:lstStyle/>
          <a:p>
            <a:r>
              <a:rPr lang="en-US"/>
              <a:t>Close email and Update Status</a:t>
            </a:r>
          </a:p>
          <a:p>
            <a:r>
              <a:rPr lang="en-US"/>
              <a:t>Make it interactive</a:t>
            </a:r>
          </a:p>
          <a:p>
            <a:r>
              <a:rPr lang="en-US"/>
              <a:t>Check all equipment</a:t>
            </a:r>
          </a:p>
        </p:txBody>
      </p:sp>
      <p:sp>
        <p:nvSpPr>
          <p:cNvPr id="69" name="Picture Placeholder 68" descr="Some graphics and glasses">
            <a:extLst>
              <a:ext uri="{FF2B5EF4-FFF2-40B4-BE49-F238E27FC236}">
                <a16:creationId xmlns:a16="http://schemas.microsoft.com/office/drawing/2014/main" id="{11119A8B-20A4-4AC1-87B7-0DF8F835D685}"/>
              </a:ext>
            </a:extLst>
          </p:cNvPr>
          <p:cNvSpPr>
            <a:spLocks noGrp="1"/>
          </p:cNvSpPr>
          <p:nvPr>
            <p:ph type="pic" sz="quarter" idx="15"/>
          </p:nvPr>
        </p:nvSpPr>
        <p:spPr/>
      </p:sp>
      <p:grpSp>
        <p:nvGrpSpPr>
          <p:cNvPr id="4" name="Group 4">
            <a:extLst>
              <a:ext uri="{FF2B5EF4-FFF2-40B4-BE49-F238E27FC236}">
                <a16:creationId xmlns:a16="http://schemas.microsoft.com/office/drawing/2014/main" id="{4BA81300-7AC4-4548-AF6D-1D6AF6CF573A}"/>
              </a:ext>
              <a:ext uri="{C183D7F6-B498-43B3-948B-1728B52AA6E4}">
                <adec:decorative xmlns:adec="http://schemas.microsoft.com/office/drawing/2017/decorative" val="1"/>
              </a:ext>
            </a:extLst>
          </p:cNvPr>
          <p:cNvGrpSpPr>
            <a:grpSpLocks noChangeAspect="1"/>
          </p:cNvGrpSpPr>
          <p:nvPr/>
        </p:nvGrpSpPr>
        <p:grpSpPr bwMode="auto">
          <a:xfrm>
            <a:off x="7041740" y="1081088"/>
            <a:ext cx="3817938" cy="5146675"/>
            <a:chOff x="4634" y="555"/>
            <a:chExt cx="2405" cy="3242"/>
          </a:xfrm>
        </p:grpSpPr>
        <p:sp>
          <p:nvSpPr>
            <p:cNvPr id="7" name="Freeform 5">
              <a:extLst>
                <a:ext uri="{FF2B5EF4-FFF2-40B4-BE49-F238E27FC236}">
                  <a16:creationId xmlns:a16="http://schemas.microsoft.com/office/drawing/2014/main" id="{37BBCC71-8C0B-4A6F-89CA-BA561CEF0CFC}"/>
                </a:ext>
              </a:extLst>
            </p:cNvPr>
            <p:cNvSpPr>
              <a:spLocks/>
            </p:cNvSpPr>
            <p:nvPr/>
          </p:nvSpPr>
          <p:spPr bwMode="auto">
            <a:xfrm>
              <a:off x="6049" y="1568"/>
              <a:ext cx="705" cy="709"/>
            </a:xfrm>
            <a:custGeom>
              <a:avLst/>
              <a:gdLst>
                <a:gd name="T0" fmla="*/ 353 w 705"/>
                <a:gd name="T1" fmla="*/ 0 h 709"/>
                <a:gd name="T2" fmla="*/ 315 w 705"/>
                <a:gd name="T3" fmla="*/ 4 h 709"/>
                <a:gd name="T4" fmla="*/ 281 w 705"/>
                <a:gd name="T5" fmla="*/ 8 h 709"/>
                <a:gd name="T6" fmla="*/ 247 w 705"/>
                <a:gd name="T7" fmla="*/ 15 h 709"/>
                <a:gd name="T8" fmla="*/ 217 w 705"/>
                <a:gd name="T9" fmla="*/ 26 h 709"/>
                <a:gd name="T10" fmla="*/ 184 w 705"/>
                <a:gd name="T11" fmla="*/ 45 h 709"/>
                <a:gd name="T12" fmla="*/ 157 w 705"/>
                <a:gd name="T13" fmla="*/ 60 h 709"/>
                <a:gd name="T14" fmla="*/ 127 w 705"/>
                <a:gd name="T15" fmla="*/ 83 h 709"/>
                <a:gd name="T16" fmla="*/ 105 w 705"/>
                <a:gd name="T17" fmla="*/ 105 h 709"/>
                <a:gd name="T18" fmla="*/ 79 w 705"/>
                <a:gd name="T19" fmla="*/ 128 h 709"/>
                <a:gd name="T20" fmla="*/ 60 w 705"/>
                <a:gd name="T21" fmla="*/ 158 h 709"/>
                <a:gd name="T22" fmla="*/ 41 w 705"/>
                <a:gd name="T23" fmla="*/ 188 h 709"/>
                <a:gd name="T24" fmla="*/ 26 w 705"/>
                <a:gd name="T25" fmla="*/ 218 h 709"/>
                <a:gd name="T26" fmla="*/ 15 w 705"/>
                <a:gd name="T27" fmla="*/ 248 h 709"/>
                <a:gd name="T28" fmla="*/ 4 w 705"/>
                <a:gd name="T29" fmla="*/ 285 h 709"/>
                <a:gd name="T30" fmla="*/ 0 w 705"/>
                <a:gd name="T31" fmla="*/ 319 h 709"/>
                <a:gd name="T32" fmla="*/ 0 w 705"/>
                <a:gd name="T33" fmla="*/ 357 h 709"/>
                <a:gd name="T34" fmla="*/ 0 w 705"/>
                <a:gd name="T35" fmla="*/ 394 h 709"/>
                <a:gd name="T36" fmla="*/ 4 w 705"/>
                <a:gd name="T37" fmla="*/ 424 h 709"/>
                <a:gd name="T38" fmla="*/ 15 w 705"/>
                <a:gd name="T39" fmla="*/ 462 h 709"/>
                <a:gd name="T40" fmla="*/ 26 w 705"/>
                <a:gd name="T41" fmla="*/ 492 h 709"/>
                <a:gd name="T42" fmla="*/ 41 w 705"/>
                <a:gd name="T43" fmla="*/ 525 h 709"/>
                <a:gd name="T44" fmla="*/ 60 w 705"/>
                <a:gd name="T45" fmla="*/ 552 h 709"/>
                <a:gd name="T46" fmla="*/ 79 w 705"/>
                <a:gd name="T47" fmla="*/ 582 h 709"/>
                <a:gd name="T48" fmla="*/ 105 w 705"/>
                <a:gd name="T49" fmla="*/ 604 h 709"/>
                <a:gd name="T50" fmla="*/ 127 w 705"/>
                <a:gd name="T51" fmla="*/ 630 h 709"/>
                <a:gd name="T52" fmla="*/ 157 w 705"/>
                <a:gd name="T53" fmla="*/ 649 h 709"/>
                <a:gd name="T54" fmla="*/ 184 w 705"/>
                <a:gd name="T55" fmla="*/ 664 h 709"/>
                <a:gd name="T56" fmla="*/ 217 w 705"/>
                <a:gd name="T57" fmla="*/ 679 h 709"/>
                <a:gd name="T58" fmla="*/ 247 w 705"/>
                <a:gd name="T59" fmla="*/ 694 h 709"/>
                <a:gd name="T60" fmla="*/ 281 w 705"/>
                <a:gd name="T61" fmla="*/ 702 h 709"/>
                <a:gd name="T62" fmla="*/ 315 w 705"/>
                <a:gd name="T63" fmla="*/ 706 h 709"/>
                <a:gd name="T64" fmla="*/ 353 w 705"/>
                <a:gd name="T65" fmla="*/ 709 h 709"/>
                <a:gd name="T66" fmla="*/ 390 w 705"/>
                <a:gd name="T67" fmla="*/ 706 h 709"/>
                <a:gd name="T68" fmla="*/ 420 w 705"/>
                <a:gd name="T69" fmla="*/ 702 h 709"/>
                <a:gd name="T70" fmla="*/ 458 w 705"/>
                <a:gd name="T71" fmla="*/ 694 h 709"/>
                <a:gd name="T72" fmla="*/ 488 w 705"/>
                <a:gd name="T73" fmla="*/ 679 h 709"/>
                <a:gd name="T74" fmla="*/ 518 w 705"/>
                <a:gd name="T75" fmla="*/ 664 h 709"/>
                <a:gd name="T76" fmla="*/ 548 w 705"/>
                <a:gd name="T77" fmla="*/ 649 h 709"/>
                <a:gd name="T78" fmla="*/ 574 w 705"/>
                <a:gd name="T79" fmla="*/ 630 h 709"/>
                <a:gd name="T80" fmla="*/ 600 w 705"/>
                <a:gd name="T81" fmla="*/ 608 h 709"/>
                <a:gd name="T82" fmla="*/ 619 w 705"/>
                <a:gd name="T83" fmla="*/ 585 h 709"/>
                <a:gd name="T84" fmla="*/ 641 w 705"/>
                <a:gd name="T85" fmla="*/ 555 h 709"/>
                <a:gd name="T86" fmla="*/ 660 w 705"/>
                <a:gd name="T87" fmla="*/ 529 h 709"/>
                <a:gd name="T88" fmla="*/ 671 w 705"/>
                <a:gd name="T89" fmla="*/ 495 h 709"/>
                <a:gd name="T90" fmla="*/ 690 w 705"/>
                <a:gd name="T91" fmla="*/ 465 h 709"/>
                <a:gd name="T92" fmla="*/ 698 w 705"/>
                <a:gd name="T93" fmla="*/ 432 h 709"/>
                <a:gd name="T94" fmla="*/ 701 w 705"/>
                <a:gd name="T95" fmla="*/ 402 h 709"/>
                <a:gd name="T96" fmla="*/ 705 w 705"/>
                <a:gd name="T97" fmla="*/ 364 h 709"/>
                <a:gd name="T98" fmla="*/ 353 w 705"/>
                <a:gd name="T99" fmla="*/ 364 h 709"/>
                <a:gd name="T100" fmla="*/ 353 w 705"/>
                <a:gd name="T101"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5" h="709">
                  <a:moveTo>
                    <a:pt x="353" y="0"/>
                  </a:moveTo>
                  <a:lnTo>
                    <a:pt x="315" y="4"/>
                  </a:lnTo>
                  <a:lnTo>
                    <a:pt x="281" y="8"/>
                  </a:lnTo>
                  <a:lnTo>
                    <a:pt x="247" y="15"/>
                  </a:lnTo>
                  <a:lnTo>
                    <a:pt x="217" y="26"/>
                  </a:lnTo>
                  <a:lnTo>
                    <a:pt x="184" y="45"/>
                  </a:lnTo>
                  <a:lnTo>
                    <a:pt x="157" y="60"/>
                  </a:lnTo>
                  <a:lnTo>
                    <a:pt x="127" y="83"/>
                  </a:lnTo>
                  <a:lnTo>
                    <a:pt x="105" y="105"/>
                  </a:lnTo>
                  <a:lnTo>
                    <a:pt x="79" y="128"/>
                  </a:lnTo>
                  <a:lnTo>
                    <a:pt x="60" y="158"/>
                  </a:lnTo>
                  <a:lnTo>
                    <a:pt x="41" y="188"/>
                  </a:lnTo>
                  <a:lnTo>
                    <a:pt x="26" y="218"/>
                  </a:lnTo>
                  <a:lnTo>
                    <a:pt x="15" y="248"/>
                  </a:lnTo>
                  <a:lnTo>
                    <a:pt x="4" y="285"/>
                  </a:lnTo>
                  <a:lnTo>
                    <a:pt x="0" y="319"/>
                  </a:lnTo>
                  <a:lnTo>
                    <a:pt x="0" y="357"/>
                  </a:lnTo>
                  <a:lnTo>
                    <a:pt x="0" y="394"/>
                  </a:lnTo>
                  <a:lnTo>
                    <a:pt x="4" y="424"/>
                  </a:lnTo>
                  <a:lnTo>
                    <a:pt x="15" y="462"/>
                  </a:lnTo>
                  <a:lnTo>
                    <a:pt x="26" y="492"/>
                  </a:lnTo>
                  <a:lnTo>
                    <a:pt x="41" y="525"/>
                  </a:lnTo>
                  <a:lnTo>
                    <a:pt x="60" y="552"/>
                  </a:lnTo>
                  <a:lnTo>
                    <a:pt x="79" y="582"/>
                  </a:lnTo>
                  <a:lnTo>
                    <a:pt x="105" y="604"/>
                  </a:lnTo>
                  <a:lnTo>
                    <a:pt x="127" y="630"/>
                  </a:lnTo>
                  <a:lnTo>
                    <a:pt x="157" y="649"/>
                  </a:lnTo>
                  <a:lnTo>
                    <a:pt x="184" y="664"/>
                  </a:lnTo>
                  <a:lnTo>
                    <a:pt x="217" y="679"/>
                  </a:lnTo>
                  <a:lnTo>
                    <a:pt x="247" y="694"/>
                  </a:lnTo>
                  <a:lnTo>
                    <a:pt x="281" y="702"/>
                  </a:lnTo>
                  <a:lnTo>
                    <a:pt x="315" y="706"/>
                  </a:lnTo>
                  <a:lnTo>
                    <a:pt x="353" y="709"/>
                  </a:lnTo>
                  <a:lnTo>
                    <a:pt x="390" y="706"/>
                  </a:lnTo>
                  <a:lnTo>
                    <a:pt x="420" y="702"/>
                  </a:lnTo>
                  <a:lnTo>
                    <a:pt x="458" y="694"/>
                  </a:lnTo>
                  <a:lnTo>
                    <a:pt x="488" y="679"/>
                  </a:lnTo>
                  <a:lnTo>
                    <a:pt x="518" y="664"/>
                  </a:lnTo>
                  <a:lnTo>
                    <a:pt x="548" y="649"/>
                  </a:lnTo>
                  <a:lnTo>
                    <a:pt x="574" y="630"/>
                  </a:lnTo>
                  <a:lnTo>
                    <a:pt x="600" y="608"/>
                  </a:lnTo>
                  <a:lnTo>
                    <a:pt x="619" y="585"/>
                  </a:lnTo>
                  <a:lnTo>
                    <a:pt x="641" y="555"/>
                  </a:lnTo>
                  <a:lnTo>
                    <a:pt x="660" y="529"/>
                  </a:lnTo>
                  <a:lnTo>
                    <a:pt x="671" y="495"/>
                  </a:lnTo>
                  <a:lnTo>
                    <a:pt x="690" y="465"/>
                  </a:lnTo>
                  <a:lnTo>
                    <a:pt x="698" y="432"/>
                  </a:lnTo>
                  <a:lnTo>
                    <a:pt x="701" y="402"/>
                  </a:lnTo>
                  <a:lnTo>
                    <a:pt x="705" y="364"/>
                  </a:lnTo>
                  <a:lnTo>
                    <a:pt x="353" y="364"/>
                  </a:lnTo>
                  <a:lnTo>
                    <a:pt x="353"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a:extLst>
                <a:ext uri="{FF2B5EF4-FFF2-40B4-BE49-F238E27FC236}">
                  <a16:creationId xmlns:a16="http://schemas.microsoft.com/office/drawing/2014/main" id="{F8C7479E-8D9B-4F8B-BC3C-B0BB040A4540}"/>
                </a:ext>
              </a:extLst>
            </p:cNvPr>
            <p:cNvSpPr>
              <a:spLocks/>
            </p:cNvSpPr>
            <p:nvPr/>
          </p:nvSpPr>
          <p:spPr bwMode="auto">
            <a:xfrm>
              <a:off x="6049" y="1568"/>
              <a:ext cx="705" cy="709"/>
            </a:xfrm>
            <a:custGeom>
              <a:avLst/>
              <a:gdLst>
                <a:gd name="T0" fmla="*/ 353 w 705"/>
                <a:gd name="T1" fmla="*/ 0 h 709"/>
                <a:gd name="T2" fmla="*/ 315 w 705"/>
                <a:gd name="T3" fmla="*/ 4 h 709"/>
                <a:gd name="T4" fmla="*/ 281 w 705"/>
                <a:gd name="T5" fmla="*/ 8 h 709"/>
                <a:gd name="T6" fmla="*/ 247 w 705"/>
                <a:gd name="T7" fmla="*/ 15 h 709"/>
                <a:gd name="T8" fmla="*/ 217 w 705"/>
                <a:gd name="T9" fmla="*/ 26 h 709"/>
                <a:gd name="T10" fmla="*/ 184 w 705"/>
                <a:gd name="T11" fmla="*/ 45 h 709"/>
                <a:gd name="T12" fmla="*/ 157 w 705"/>
                <a:gd name="T13" fmla="*/ 60 h 709"/>
                <a:gd name="T14" fmla="*/ 127 w 705"/>
                <a:gd name="T15" fmla="*/ 83 h 709"/>
                <a:gd name="T16" fmla="*/ 105 w 705"/>
                <a:gd name="T17" fmla="*/ 105 h 709"/>
                <a:gd name="T18" fmla="*/ 79 w 705"/>
                <a:gd name="T19" fmla="*/ 128 h 709"/>
                <a:gd name="T20" fmla="*/ 60 w 705"/>
                <a:gd name="T21" fmla="*/ 158 h 709"/>
                <a:gd name="T22" fmla="*/ 41 w 705"/>
                <a:gd name="T23" fmla="*/ 188 h 709"/>
                <a:gd name="T24" fmla="*/ 26 w 705"/>
                <a:gd name="T25" fmla="*/ 218 h 709"/>
                <a:gd name="T26" fmla="*/ 15 w 705"/>
                <a:gd name="T27" fmla="*/ 248 h 709"/>
                <a:gd name="T28" fmla="*/ 4 w 705"/>
                <a:gd name="T29" fmla="*/ 285 h 709"/>
                <a:gd name="T30" fmla="*/ 0 w 705"/>
                <a:gd name="T31" fmla="*/ 319 h 709"/>
                <a:gd name="T32" fmla="*/ 0 w 705"/>
                <a:gd name="T33" fmla="*/ 357 h 709"/>
                <a:gd name="T34" fmla="*/ 0 w 705"/>
                <a:gd name="T35" fmla="*/ 394 h 709"/>
                <a:gd name="T36" fmla="*/ 4 w 705"/>
                <a:gd name="T37" fmla="*/ 424 h 709"/>
                <a:gd name="T38" fmla="*/ 15 w 705"/>
                <a:gd name="T39" fmla="*/ 462 h 709"/>
                <a:gd name="T40" fmla="*/ 26 w 705"/>
                <a:gd name="T41" fmla="*/ 492 h 709"/>
                <a:gd name="T42" fmla="*/ 41 w 705"/>
                <a:gd name="T43" fmla="*/ 525 h 709"/>
                <a:gd name="T44" fmla="*/ 60 w 705"/>
                <a:gd name="T45" fmla="*/ 552 h 709"/>
                <a:gd name="T46" fmla="*/ 79 w 705"/>
                <a:gd name="T47" fmla="*/ 582 h 709"/>
                <a:gd name="T48" fmla="*/ 105 w 705"/>
                <a:gd name="T49" fmla="*/ 604 h 709"/>
                <a:gd name="T50" fmla="*/ 127 w 705"/>
                <a:gd name="T51" fmla="*/ 630 h 709"/>
                <a:gd name="T52" fmla="*/ 157 w 705"/>
                <a:gd name="T53" fmla="*/ 649 h 709"/>
                <a:gd name="T54" fmla="*/ 184 w 705"/>
                <a:gd name="T55" fmla="*/ 664 h 709"/>
                <a:gd name="T56" fmla="*/ 217 w 705"/>
                <a:gd name="T57" fmla="*/ 679 h 709"/>
                <a:gd name="T58" fmla="*/ 247 w 705"/>
                <a:gd name="T59" fmla="*/ 694 h 709"/>
                <a:gd name="T60" fmla="*/ 281 w 705"/>
                <a:gd name="T61" fmla="*/ 702 h 709"/>
                <a:gd name="T62" fmla="*/ 315 w 705"/>
                <a:gd name="T63" fmla="*/ 706 h 709"/>
                <a:gd name="T64" fmla="*/ 353 w 705"/>
                <a:gd name="T65" fmla="*/ 709 h 709"/>
                <a:gd name="T66" fmla="*/ 390 w 705"/>
                <a:gd name="T67" fmla="*/ 706 h 709"/>
                <a:gd name="T68" fmla="*/ 420 w 705"/>
                <a:gd name="T69" fmla="*/ 702 h 709"/>
                <a:gd name="T70" fmla="*/ 458 w 705"/>
                <a:gd name="T71" fmla="*/ 694 h 709"/>
                <a:gd name="T72" fmla="*/ 488 w 705"/>
                <a:gd name="T73" fmla="*/ 679 h 709"/>
                <a:gd name="T74" fmla="*/ 518 w 705"/>
                <a:gd name="T75" fmla="*/ 664 h 709"/>
                <a:gd name="T76" fmla="*/ 548 w 705"/>
                <a:gd name="T77" fmla="*/ 649 h 709"/>
                <a:gd name="T78" fmla="*/ 574 w 705"/>
                <a:gd name="T79" fmla="*/ 630 h 709"/>
                <a:gd name="T80" fmla="*/ 600 w 705"/>
                <a:gd name="T81" fmla="*/ 608 h 709"/>
                <a:gd name="T82" fmla="*/ 619 w 705"/>
                <a:gd name="T83" fmla="*/ 585 h 709"/>
                <a:gd name="T84" fmla="*/ 641 w 705"/>
                <a:gd name="T85" fmla="*/ 555 h 709"/>
                <a:gd name="T86" fmla="*/ 660 w 705"/>
                <a:gd name="T87" fmla="*/ 529 h 709"/>
                <a:gd name="T88" fmla="*/ 671 w 705"/>
                <a:gd name="T89" fmla="*/ 495 h 709"/>
                <a:gd name="T90" fmla="*/ 690 w 705"/>
                <a:gd name="T91" fmla="*/ 465 h 709"/>
                <a:gd name="T92" fmla="*/ 698 w 705"/>
                <a:gd name="T93" fmla="*/ 432 h 709"/>
                <a:gd name="T94" fmla="*/ 701 w 705"/>
                <a:gd name="T95" fmla="*/ 402 h 709"/>
                <a:gd name="T96" fmla="*/ 705 w 705"/>
                <a:gd name="T97" fmla="*/ 364 h 709"/>
                <a:gd name="T98" fmla="*/ 353 w 705"/>
                <a:gd name="T99" fmla="*/ 364 h 709"/>
                <a:gd name="T100" fmla="*/ 353 w 705"/>
                <a:gd name="T101"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5" h="709">
                  <a:moveTo>
                    <a:pt x="353" y="0"/>
                  </a:moveTo>
                  <a:lnTo>
                    <a:pt x="315" y="4"/>
                  </a:lnTo>
                  <a:lnTo>
                    <a:pt x="281" y="8"/>
                  </a:lnTo>
                  <a:lnTo>
                    <a:pt x="247" y="15"/>
                  </a:lnTo>
                  <a:lnTo>
                    <a:pt x="217" y="26"/>
                  </a:lnTo>
                  <a:lnTo>
                    <a:pt x="184" y="45"/>
                  </a:lnTo>
                  <a:lnTo>
                    <a:pt x="157" y="60"/>
                  </a:lnTo>
                  <a:lnTo>
                    <a:pt x="127" y="83"/>
                  </a:lnTo>
                  <a:lnTo>
                    <a:pt x="105" y="105"/>
                  </a:lnTo>
                  <a:lnTo>
                    <a:pt x="79" y="128"/>
                  </a:lnTo>
                  <a:lnTo>
                    <a:pt x="60" y="158"/>
                  </a:lnTo>
                  <a:lnTo>
                    <a:pt x="41" y="188"/>
                  </a:lnTo>
                  <a:lnTo>
                    <a:pt x="26" y="218"/>
                  </a:lnTo>
                  <a:lnTo>
                    <a:pt x="15" y="248"/>
                  </a:lnTo>
                  <a:lnTo>
                    <a:pt x="4" y="285"/>
                  </a:lnTo>
                  <a:lnTo>
                    <a:pt x="0" y="319"/>
                  </a:lnTo>
                  <a:lnTo>
                    <a:pt x="0" y="357"/>
                  </a:lnTo>
                  <a:lnTo>
                    <a:pt x="0" y="394"/>
                  </a:lnTo>
                  <a:lnTo>
                    <a:pt x="4" y="424"/>
                  </a:lnTo>
                  <a:lnTo>
                    <a:pt x="15" y="462"/>
                  </a:lnTo>
                  <a:lnTo>
                    <a:pt x="26" y="492"/>
                  </a:lnTo>
                  <a:lnTo>
                    <a:pt x="41" y="525"/>
                  </a:lnTo>
                  <a:lnTo>
                    <a:pt x="60" y="552"/>
                  </a:lnTo>
                  <a:lnTo>
                    <a:pt x="79" y="582"/>
                  </a:lnTo>
                  <a:lnTo>
                    <a:pt x="105" y="604"/>
                  </a:lnTo>
                  <a:lnTo>
                    <a:pt x="127" y="630"/>
                  </a:lnTo>
                  <a:lnTo>
                    <a:pt x="157" y="649"/>
                  </a:lnTo>
                  <a:lnTo>
                    <a:pt x="184" y="664"/>
                  </a:lnTo>
                  <a:lnTo>
                    <a:pt x="217" y="679"/>
                  </a:lnTo>
                  <a:lnTo>
                    <a:pt x="247" y="694"/>
                  </a:lnTo>
                  <a:lnTo>
                    <a:pt x="281" y="702"/>
                  </a:lnTo>
                  <a:lnTo>
                    <a:pt x="315" y="706"/>
                  </a:lnTo>
                  <a:lnTo>
                    <a:pt x="353" y="709"/>
                  </a:lnTo>
                  <a:lnTo>
                    <a:pt x="390" y="706"/>
                  </a:lnTo>
                  <a:lnTo>
                    <a:pt x="420" y="702"/>
                  </a:lnTo>
                  <a:lnTo>
                    <a:pt x="458" y="694"/>
                  </a:lnTo>
                  <a:lnTo>
                    <a:pt x="488" y="679"/>
                  </a:lnTo>
                  <a:lnTo>
                    <a:pt x="518" y="664"/>
                  </a:lnTo>
                  <a:lnTo>
                    <a:pt x="548" y="649"/>
                  </a:lnTo>
                  <a:lnTo>
                    <a:pt x="574" y="630"/>
                  </a:lnTo>
                  <a:lnTo>
                    <a:pt x="600" y="608"/>
                  </a:lnTo>
                  <a:lnTo>
                    <a:pt x="619" y="585"/>
                  </a:lnTo>
                  <a:lnTo>
                    <a:pt x="641" y="555"/>
                  </a:lnTo>
                  <a:lnTo>
                    <a:pt x="660" y="529"/>
                  </a:lnTo>
                  <a:lnTo>
                    <a:pt x="671" y="495"/>
                  </a:lnTo>
                  <a:lnTo>
                    <a:pt x="690" y="465"/>
                  </a:lnTo>
                  <a:lnTo>
                    <a:pt x="698" y="432"/>
                  </a:lnTo>
                  <a:lnTo>
                    <a:pt x="701" y="402"/>
                  </a:lnTo>
                  <a:lnTo>
                    <a:pt x="705" y="364"/>
                  </a:lnTo>
                  <a:lnTo>
                    <a:pt x="353" y="364"/>
                  </a:lnTo>
                  <a:lnTo>
                    <a:pt x="3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7">
              <a:extLst>
                <a:ext uri="{FF2B5EF4-FFF2-40B4-BE49-F238E27FC236}">
                  <a16:creationId xmlns:a16="http://schemas.microsoft.com/office/drawing/2014/main" id="{6B31B912-D064-4BB9-A482-57C06040630C}"/>
                </a:ext>
              </a:extLst>
            </p:cNvPr>
            <p:cNvSpPr>
              <a:spLocks/>
            </p:cNvSpPr>
            <p:nvPr/>
          </p:nvSpPr>
          <p:spPr bwMode="auto">
            <a:xfrm>
              <a:off x="6469" y="1504"/>
              <a:ext cx="353" cy="361"/>
            </a:xfrm>
            <a:custGeom>
              <a:avLst/>
              <a:gdLst>
                <a:gd name="T0" fmla="*/ 0 w 353"/>
                <a:gd name="T1" fmla="*/ 0 h 361"/>
                <a:gd name="T2" fmla="*/ 0 w 353"/>
                <a:gd name="T3" fmla="*/ 361 h 361"/>
                <a:gd name="T4" fmla="*/ 353 w 353"/>
                <a:gd name="T5" fmla="*/ 361 h 361"/>
                <a:gd name="T6" fmla="*/ 353 w 353"/>
                <a:gd name="T7" fmla="*/ 353 h 361"/>
                <a:gd name="T8" fmla="*/ 349 w 353"/>
                <a:gd name="T9" fmla="*/ 316 h 361"/>
                <a:gd name="T10" fmla="*/ 345 w 353"/>
                <a:gd name="T11" fmla="*/ 278 h 361"/>
                <a:gd name="T12" fmla="*/ 338 w 353"/>
                <a:gd name="T13" fmla="*/ 248 h 361"/>
                <a:gd name="T14" fmla="*/ 323 w 353"/>
                <a:gd name="T15" fmla="*/ 211 h 361"/>
                <a:gd name="T16" fmla="*/ 308 w 353"/>
                <a:gd name="T17" fmla="*/ 184 h 361"/>
                <a:gd name="T18" fmla="*/ 293 w 353"/>
                <a:gd name="T19" fmla="*/ 150 h 361"/>
                <a:gd name="T20" fmla="*/ 274 w 353"/>
                <a:gd name="T21" fmla="*/ 128 h 361"/>
                <a:gd name="T22" fmla="*/ 248 w 353"/>
                <a:gd name="T23" fmla="*/ 98 h 361"/>
                <a:gd name="T24" fmla="*/ 225 w 353"/>
                <a:gd name="T25" fmla="*/ 79 h 361"/>
                <a:gd name="T26" fmla="*/ 195 w 353"/>
                <a:gd name="T27" fmla="*/ 60 h 361"/>
                <a:gd name="T28" fmla="*/ 169 w 353"/>
                <a:gd name="T29" fmla="*/ 38 h 361"/>
                <a:gd name="T30" fmla="*/ 135 w 353"/>
                <a:gd name="T31" fmla="*/ 27 h 361"/>
                <a:gd name="T32" fmla="*/ 105 w 353"/>
                <a:gd name="T33" fmla="*/ 15 h 361"/>
                <a:gd name="T34" fmla="*/ 68 w 353"/>
                <a:gd name="T35" fmla="*/ 4 h 361"/>
                <a:gd name="T36" fmla="*/ 38 w 353"/>
                <a:gd name="T37" fmla="*/ 0 h 361"/>
                <a:gd name="T38" fmla="*/ 0 w 353"/>
                <a:gd name="T39"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3" h="361">
                  <a:moveTo>
                    <a:pt x="0" y="0"/>
                  </a:moveTo>
                  <a:lnTo>
                    <a:pt x="0" y="361"/>
                  </a:lnTo>
                  <a:lnTo>
                    <a:pt x="353" y="361"/>
                  </a:lnTo>
                  <a:lnTo>
                    <a:pt x="353" y="353"/>
                  </a:lnTo>
                  <a:lnTo>
                    <a:pt x="349" y="316"/>
                  </a:lnTo>
                  <a:lnTo>
                    <a:pt x="345" y="278"/>
                  </a:lnTo>
                  <a:lnTo>
                    <a:pt x="338" y="248"/>
                  </a:lnTo>
                  <a:lnTo>
                    <a:pt x="323" y="211"/>
                  </a:lnTo>
                  <a:lnTo>
                    <a:pt x="308" y="184"/>
                  </a:lnTo>
                  <a:lnTo>
                    <a:pt x="293" y="150"/>
                  </a:lnTo>
                  <a:lnTo>
                    <a:pt x="274" y="128"/>
                  </a:lnTo>
                  <a:lnTo>
                    <a:pt x="248" y="98"/>
                  </a:lnTo>
                  <a:lnTo>
                    <a:pt x="225" y="79"/>
                  </a:lnTo>
                  <a:lnTo>
                    <a:pt x="195" y="60"/>
                  </a:lnTo>
                  <a:lnTo>
                    <a:pt x="169" y="38"/>
                  </a:lnTo>
                  <a:lnTo>
                    <a:pt x="135" y="27"/>
                  </a:lnTo>
                  <a:lnTo>
                    <a:pt x="105" y="15"/>
                  </a:lnTo>
                  <a:lnTo>
                    <a:pt x="68" y="4"/>
                  </a:lnTo>
                  <a:lnTo>
                    <a:pt x="38"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8">
              <a:extLst>
                <a:ext uri="{FF2B5EF4-FFF2-40B4-BE49-F238E27FC236}">
                  <a16:creationId xmlns:a16="http://schemas.microsoft.com/office/drawing/2014/main" id="{D1C2CBE1-0242-4973-B911-020DCA9AB9C9}"/>
                </a:ext>
              </a:extLst>
            </p:cNvPr>
            <p:cNvSpPr>
              <a:spLocks/>
            </p:cNvSpPr>
            <p:nvPr/>
          </p:nvSpPr>
          <p:spPr bwMode="auto">
            <a:xfrm>
              <a:off x="6469" y="1504"/>
              <a:ext cx="353" cy="361"/>
            </a:xfrm>
            <a:custGeom>
              <a:avLst/>
              <a:gdLst>
                <a:gd name="T0" fmla="*/ 0 w 353"/>
                <a:gd name="T1" fmla="*/ 0 h 361"/>
                <a:gd name="T2" fmla="*/ 0 w 353"/>
                <a:gd name="T3" fmla="*/ 361 h 361"/>
                <a:gd name="T4" fmla="*/ 353 w 353"/>
                <a:gd name="T5" fmla="*/ 361 h 361"/>
                <a:gd name="T6" fmla="*/ 353 w 353"/>
                <a:gd name="T7" fmla="*/ 353 h 361"/>
                <a:gd name="T8" fmla="*/ 349 w 353"/>
                <a:gd name="T9" fmla="*/ 316 h 361"/>
                <a:gd name="T10" fmla="*/ 345 w 353"/>
                <a:gd name="T11" fmla="*/ 278 h 361"/>
                <a:gd name="T12" fmla="*/ 338 w 353"/>
                <a:gd name="T13" fmla="*/ 248 h 361"/>
                <a:gd name="T14" fmla="*/ 323 w 353"/>
                <a:gd name="T15" fmla="*/ 211 h 361"/>
                <a:gd name="T16" fmla="*/ 308 w 353"/>
                <a:gd name="T17" fmla="*/ 184 h 361"/>
                <a:gd name="T18" fmla="*/ 293 w 353"/>
                <a:gd name="T19" fmla="*/ 150 h 361"/>
                <a:gd name="T20" fmla="*/ 274 w 353"/>
                <a:gd name="T21" fmla="*/ 128 h 361"/>
                <a:gd name="T22" fmla="*/ 248 w 353"/>
                <a:gd name="T23" fmla="*/ 98 h 361"/>
                <a:gd name="T24" fmla="*/ 225 w 353"/>
                <a:gd name="T25" fmla="*/ 79 h 361"/>
                <a:gd name="T26" fmla="*/ 195 w 353"/>
                <a:gd name="T27" fmla="*/ 60 h 361"/>
                <a:gd name="T28" fmla="*/ 169 w 353"/>
                <a:gd name="T29" fmla="*/ 38 h 361"/>
                <a:gd name="T30" fmla="*/ 135 w 353"/>
                <a:gd name="T31" fmla="*/ 27 h 361"/>
                <a:gd name="T32" fmla="*/ 105 w 353"/>
                <a:gd name="T33" fmla="*/ 15 h 361"/>
                <a:gd name="T34" fmla="*/ 68 w 353"/>
                <a:gd name="T35" fmla="*/ 4 h 361"/>
                <a:gd name="T36" fmla="*/ 38 w 353"/>
                <a:gd name="T37" fmla="*/ 0 h 361"/>
                <a:gd name="T38" fmla="*/ 0 w 353"/>
                <a:gd name="T39"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3" h="361">
                  <a:moveTo>
                    <a:pt x="0" y="0"/>
                  </a:moveTo>
                  <a:lnTo>
                    <a:pt x="0" y="361"/>
                  </a:lnTo>
                  <a:lnTo>
                    <a:pt x="353" y="361"/>
                  </a:lnTo>
                  <a:lnTo>
                    <a:pt x="353" y="353"/>
                  </a:lnTo>
                  <a:lnTo>
                    <a:pt x="349" y="316"/>
                  </a:lnTo>
                  <a:lnTo>
                    <a:pt x="345" y="278"/>
                  </a:lnTo>
                  <a:lnTo>
                    <a:pt x="338" y="248"/>
                  </a:lnTo>
                  <a:lnTo>
                    <a:pt x="323" y="211"/>
                  </a:lnTo>
                  <a:lnTo>
                    <a:pt x="308" y="184"/>
                  </a:lnTo>
                  <a:lnTo>
                    <a:pt x="293" y="150"/>
                  </a:lnTo>
                  <a:lnTo>
                    <a:pt x="274" y="128"/>
                  </a:lnTo>
                  <a:lnTo>
                    <a:pt x="248" y="98"/>
                  </a:lnTo>
                  <a:lnTo>
                    <a:pt x="225" y="79"/>
                  </a:lnTo>
                  <a:lnTo>
                    <a:pt x="195" y="60"/>
                  </a:lnTo>
                  <a:lnTo>
                    <a:pt x="169" y="38"/>
                  </a:lnTo>
                  <a:lnTo>
                    <a:pt x="135" y="27"/>
                  </a:lnTo>
                  <a:lnTo>
                    <a:pt x="105" y="15"/>
                  </a:lnTo>
                  <a:lnTo>
                    <a:pt x="68" y="4"/>
                  </a:lnTo>
                  <a:lnTo>
                    <a:pt x="3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9">
              <a:extLst>
                <a:ext uri="{FF2B5EF4-FFF2-40B4-BE49-F238E27FC236}">
                  <a16:creationId xmlns:a16="http://schemas.microsoft.com/office/drawing/2014/main" id="{16B7B69E-97C5-4EF5-9927-093485FC0FF3}"/>
                </a:ext>
              </a:extLst>
            </p:cNvPr>
            <p:cNvSpPr>
              <a:spLocks/>
            </p:cNvSpPr>
            <p:nvPr/>
          </p:nvSpPr>
          <p:spPr bwMode="auto">
            <a:xfrm>
              <a:off x="4634" y="1988"/>
              <a:ext cx="2405" cy="1809"/>
            </a:xfrm>
            <a:custGeom>
              <a:avLst/>
              <a:gdLst>
                <a:gd name="T0" fmla="*/ 641 w 641"/>
                <a:gd name="T1" fmla="*/ 13 h 482"/>
                <a:gd name="T2" fmla="*/ 628 w 641"/>
                <a:gd name="T3" fmla="*/ 0 h 482"/>
                <a:gd name="T4" fmla="*/ 13 w 641"/>
                <a:gd name="T5" fmla="*/ 0 h 482"/>
                <a:gd name="T6" fmla="*/ 0 w 641"/>
                <a:gd name="T7" fmla="*/ 13 h 482"/>
                <a:gd name="T8" fmla="*/ 0 w 641"/>
                <a:gd name="T9" fmla="*/ 432 h 482"/>
                <a:gd name="T10" fmla="*/ 13 w 641"/>
                <a:gd name="T11" fmla="*/ 445 h 482"/>
                <a:gd name="T12" fmla="*/ 297 w 641"/>
                <a:gd name="T13" fmla="*/ 445 h 482"/>
                <a:gd name="T14" fmla="*/ 288 w 641"/>
                <a:gd name="T15" fmla="*/ 473 h 482"/>
                <a:gd name="T16" fmla="*/ 231 w 641"/>
                <a:gd name="T17" fmla="*/ 473 h 482"/>
                <a:gd name="T18" fmla="*/ 231 w 641"/>
                <a:gd name="T19" fmla="*/ 482 h 482"/>
                <a:gd name="T20" fmla="*/ 407 w 641"/>
                <a:gd name="T21" fmla="*/ 482 h 482"/>
                <a:gd name="T22" fmla="*/ 407 w 641"/>
                <a:gd name="T23" fmla="*/ 473 h 482"/>
                <a:gd name="T24" fmla="*/ 360 w 641"/>
                <a:gd name="T25" fmla="*/ 473 h 482"/>
                <a:gd name="T26" fmla="*/ 351 w 641"/>
                <a:gd name="T27" fmla="*/ 445 h 482"/>
                <a:gd name="T28" fmla="*/ 628 w 641"/>
                <a:gd name="T29" fmla="*/ 445 h 482"/>
                <a:gd name="T30" fmla="*/ 641 w 641"/>
                <a:gd name="T31" fmla="*/ 432 h 482"/>
                <a:gd name="T32" fmla="*/ 641 w 641"/>
                <a:gd name="T33" fmla="*/ 13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1" h="482">
                  <a:moveTo>
                    <a:pt x="641" y="13"/>
                  </a:moveTo>
                  <a:cubicBezTo>
                    <a:pt x="641" y="6"/>
                    <a:pt x="635" y="0"/>
                    <a:pt x="628" y="0"/>
                  </a:cubicBezTo>
                  <a:cubicBezTo>
                    <a:pt x="13" y="0"/>
                    <a:pt x="13" y="0"/>
                    <a:pt x="13" y="0"/>
                  </a:cubicBezTo>
                  <a:cubicBezTo>
                    <a:pt x="6" y="0"/>
                    <a:pt x="0" y="6"/>
                    <a:pt x="0" y="13"/>
                  </a:cubicBezTo>
                  <a:cubicBezTo>
                    <a:pt x="0" y="432"/>
                    <a:pt x="0" y="432"/>
                    <a:pt x="0" y="432"/>
                  </a:cubicBezTo>
                  <a:cubicBezTo>
                    <a:pt x="0" y="439"/>
                    <a:pt x="6" y="445"/>
                    <a:pt x="13" y="445"/>
                  </a:cubicBezTo>
                  <a:cubicBezTo>
                    <a:pt x="297" y="445"/>
                    <a:pt x="297" y="445"/>
                    <a:pt x="297" y="445"/>
                  </a:cubicBezTo>
                  <a:cubicBezTo>
                    <a:pt x="288" y="473"/>
                    <a:pt x="288" y="473"/>
                    <a:pt x="288" y="473"/>
                  </a:cubicBezTo>
                  <a:cubicBezTo>
                    <a:pt x="231" y="473"/>
                    <a:pt x="231" y="473"/>
                    <a:pt x="231" y="473"/>
                  </a:cubicBezTo>
                  <a:cubicBezTo>
                    <a:pt x="231" y="482"/>
                    <a:pt x="231" y="482"/>
                    <a:pt x="231" y="482"/>
                  </a:cubicBezTo>
                  <a:cubicBezTo>
                    <a:pt x="407" y="482"/>
                    <a:pt x="407" y="482"/>
                    <a:pt x="407" y="482"/>
                  </a:cubicBezTo>
                  <a:cubicBezTo>
                    <a:pt x="407" y="473"/>
                    <a:pt x="407" y="473"/>
                    <a:pt x="407" y="473"/>
                  </a:cubicBezTo>
                  <a:cubicBezTo>
                    <a:pt x="360" y="473"/>
                    <a:pt x="360" y="473"/>
                    <a:pt x="360" y="473"/>
                  </a:cubicBezTo>
                  <a:cubicBezTo>
                    <a:pt x="351" y="445"/>
                    <a:pt x="351" y="445"/>
                    <a:pt x="351" y="445"/>
                  </a:cubicBezTo>
                  <a:cubicBezTo>
                    <a:pt x="628" y="445"/>
                    <a:pt x="628" y="445"/>
                    <a:pt x="628" y="445"/>
                  </a:cubicBezTo>
                  <a:cubicBezTo>
                    <a:pt x="635" y="445"/>
                    <a:pt x="641" y="439"/>
                    <a:pt x="641" y="432"/>
                  </a:cubicBezTo>
                  <a:lnTo>
                    <a:pt x="641" y="13"/>
                  </a:lnTo>
                  <a:close/>
                </a:path>
              </a:pathLst>
            </a:custGeom>
            <a:solidFill>
              <a:srgbClr val="0039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0">
              <a:extLst>
                <a:ext uri="{FF2B5EF4-FFF2-40B4-BE49-F238E27FC236}">
                  <a16:creationId xmlns:a16="http://schemas.microsoft.com/office/drawing/2014/main" id="{EA0201A5-DFE7-4E32-91BA-357D63688F27}"/>
                </a:ext>
              </a:extLst>
            </p:cNvPr>
            <p:cNvSpPr>
              <a:spLocks noChangeArrowheads="1"/>
            </p:cNvSpPr>
            <p:nvPr/>
          </p:nvSpPr>
          <p:spPr bwMode="auto">
            <a:xfrm>
              <a:off x="4694" y="2048"/>
              <a:ext cx="2285" cy="12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1">
              <a:extLst>
                <a:ext uri="{FF2B5EF4-FFF2-40B4-BE49-F238E27FC236}">
                  <a16:creationId xmlns:a16="http://schemas.microsoft.com/office/drawing/2014/main" id="{195AF023-C0E0-414E-967A-4FA6B8CCAE21}"/>
                </a:ext>
              </a:extLst>
            </p:cNvPr>
            <p:cNvSpPr>
              <a:spLocks noChangeArrowheads="1"/>
            </p:cNvSpPr>
            <p:nvPr/>
          </p:nvSpPr>
          <p:spPr bwMode="auto">
            <a:xfrm>
              <a:off x="5377" y="2836"/>
              <a:ext cx="300" cy="4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12">
              <a:extLst>
                <a:ext uri="{FF2B5EF4-FFF2-40B4-BE49-F238E27FC236}">
                  <a16:creationId xmlns:a16="http://schemas.microsoft.com/office/drawing/2014/main" id="{050A632A-9BDF-4F51-A8C8-58A6AE50599B}"/>
                </a:ext>
              </a:extLst>
            </p:cNvPr>
            <p:cNvSpPr>
              <a:spLocks noChangeArrowheads="1"/>
            </p:cNvSpPr>
            <p:nvPr/>
          </p:nvSpPr>
          <p:spPr bwMode="auto">
            <a:xfrm>
              <a:off x="5302" y="2836"/>
              <a:ext cx="49" cy="4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13">
              <a:extLst>
                <a:ext uri="{FF2B5EF4-FFF2-40B4-BE49-F238E27FC236}">
                  <a16:creationId xmlns:a16="http://schemas.microsoft.com/office/drawing/2014/main" id="{7EE891B0-C960-4241-B972-189CAB333BD1}"/>
                </a:ext>
              </a:extLst>
            </p:cNvPr>
            <p:cNvSpPr>
              <a:spLocks noChangeArrowheads="1"/>
            </p:cNvSpPr>
            <p:nvPr/>
          </p:nvSpPr>
          <p:spPr bwMode="auto">
            <a:xfrm>
              <a:off x="5377" y="2934"/>
              <a:ext cx="327" cy="4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4">
              <a:extLst>
                <a:ext uri="{FF2B5EF4-FFF2-40B4-BE49-F238E27FC236}">
                  <a16:creationId xmlns:a16="http://schemas.microsoft.com/office/drawing/2014/main" id="{37A025B7-6AC5-4267-A20E-5ED06FC1DAD7}"/>
                </a:ext>
              </a:extLst>
            </p:cNvPr>
            <p:cNvSpPr>
              <a:spLocks noChangeArrowheads="1"/>
            </p:cNvSpPr>
            <p:nvPr/>
          </p:nvSpPr>
          <p:spPr bwMode="auto">
            <a:xfrm>
              <a:off x="5302" y="2934"/>
              <a:ext cx="49" cy="4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5">
              <a:extLst>
                <a:ext uri="{FF2B5EF4-FFF2-40B4-BE49-F238E27FC236}">
                  <a16:creationId xmlns:a16="http://schemas.microsoft.com/office/drawing/2014/main" id="{FFE54A56-18FA-4352-98E6-D024F184FE8B}"/>
                </a:ext>
              </a:extLst>
            </p:cNvPr>
            <p:cNvSpPr>
              <a:spLocks noChangeArrowheads="1"/>
            </p:cNvSpPr>
            <p:nvPr/>
          </p:nvSpPr>
          <p:spPr bwMode="auto">
            <a:xfrm>
              <a:off x="5377" y="3028"/>
              <a:ext cx="240" cy="4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6">
              <a:extLst>
                <a:ext uri="{FF2B5EF4-FFF2-40B4-BE49-F238E27FC236}">
                  <a16:creationId xmlns:a16="http://schemas.microsoft.com/office/drawing/2014/main" id="{034B1A9D-85B7-4B16-AF6C-20A044FF2BE5}"/>
                </a:ext>
              </a:extLst>
            </p:cNvPr>
            <p:cNvSpPr>
              <a:spLocks noChangeArrowheads="1"/>
            </p:cNvSpPr>
            <p:nvPr/>
          </p:nvSpPr>
          <p:spPr bwMode="auto">
            <a:xfrm>
              <a:off x="5302" y="3028"/>
              <a:ext cx="49" cy="4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7">
              <a:extLst>
                <a:ext uri="{FF2B5EF4-FFF2-40B4-BE49-F238E27FC236}">
                  <a16:creationId xmlns:a16="http://schemas.microsoft.com/office/drawing/2014/main" id="{48596AC4-A6AE-4AA6-A4D8-3AF7D3CAF8A3}"/>
                </a:ext>
              </a:extLst>
            </p:cNvPr>
            <p:cNvSpPr>
              <a:spLocks noChangeArrowheads="1"/>
            </p:cNvSpPr>
            <p:nvPr/>
          </p:nvSpPr>
          <p:spPr bwMode="auto">
            <a:xfrm>
              <a:off x="5636" y="2480"/>
              <a:ext cx="60" cy="255"/>
            </a:xfrm>
            <a:prstGeom prst="rect">
              <a:avLst/>
            </a:prstGeom>
            <a:solidFill>
              <a:srgbClr val="3410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8">
              <a:extLst>
                <a:ext uri="{FF2B5EF4-FFF2-40B4-BE49-F238E27FC236}">
                  <a16:creationId xmlns:a16="http://schemas.microsoft.com/office/drawing/2014/main" id="{FE6C990C-149F-40C6-AC83-03BE096805CB}"/>
                </a:ext>
              </a:extLst>
            </p:cNvPr>
            <p:cNvSpPr>
              <a:spLocks noChangeArrowheads="1"/>
            </p:cNvSpPr>
            <p:nvPr/>
          </p:nvSpPr>
          <p:spPr bwMode="auto">
            <a:xfrm>
              <a:off x="5554" y="2667"/>
              <a:ext cx="60" cy="68"/>
            </a:xfrm>
            <a:prstGeom prst="rect">
              <a:avLst/>
            </a:prstGeom>
            <a:solidFill>
              <a:srgbClr val="4E195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9">
              <a:extLst>
                <a:ext uri="{FF2B5EF4-FFF2-40B4-BE49-F238E27FC236}">
                  <a16:creationId xmlns:a16="http://schemas.microsoft.com/office/drawing/2014/main" id="{FEC41FE9-226A-4FEC-8E75-1BB3E05BEA56}"/>
                </a:ext>
              </a:extLst>
            </p:cNvPr>
            <p:cNvSpPr>
              <a:spLocks noChangeArrowheads="1"/>
            </p:cNvSpPr>
            <p:nvPr/>
          </p:nvSpPr>
          <p:spPr bwMode="auto">
            <a:xfrm>
              <a:off x="5471" y="2559"/>
              <a:ext cx="60" cy="176"/>
            </a:xfrm>
            <a:prstGeom prst="rect">
              <a:avLst/>
            </a:prstGeom>
            <a:solidFill>
              <a:srgbClr val="B957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20">
              <a:extLst>
                <a:ext uri="{FF2B5EF4-FFF2-40B4-BE49-F238E27FC236}">
                  <a16:creationId xmlns:a16="http://schemas.microsoft.com/office/drawing/2014/main" id="{2E727F2B-AD47-421F-8DDF-1020D7195431}"/>
                </a:ext>
              </a:extLst>
            </p:cNvPr>
            <p:cNvSpPr>
              <a:spLocks noChangeArrowheads="1"/>
            </p:cNvSpPr>
            <p:nvPr/>
          </p:nvSpPr>
          <p:spPr bwMode="auto">
            <a:xfrm>
              <a:off x="5385" y="2514"/>
              <a:ext cx="56" cy="22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21">
              <a:extLst>
                <a:ext uri="{FF2B5EF4-FFF2-40B4-BE49-F238E27FC236}">
                  <a16:creationId xmlns:a16="http://schemas.microsoft.com/office/drawing/2014/main" id="{9B484649-8E10-4868-81B5-209680641B82}"/>
                </a:ext>
              </a:extLst>
            </p:cNvPr>
            <p:cNvSpPr>
              <a:spLocks noChangeArrowheads="1"/>
            </p:cNvSpPr>
            <p:nvPr/>
          </p:nvSpPr>
          <p:spPr bwMode="auto">
            <a:xfrm>
              <a:off x="5299" y="2596"/>
              <a:ext cx="60" cy="139"/>
            </a:xfrm>
            <a:prstGeom prst="rect">
              <a:avLst/>
            </a:prstGeom>
            <a:solidFill>
              <a:srgbClr val="D08F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2">
              <a:extLst>
                <a:ext uri="{FF2B5EF4-FFF2-40B4-BE49-F238E27FC236}">
                  <a16:creationId xmlns:a16="http://schemas.microsoft.com/office/drawing/2014/main" id="{33394E1F-0AE4-4766-A783-8AE7303938A6}"/>
                </a:ext>
              </a:extLst>
            </p:cNvPr>
            <p:cNvSpPr>
              <a:spLocks/>
            </p:cNvSpPr>
            <p:nvPr/>
          </p:nvSpPr>
          <p:spPr bwMode="auto">
            <a:xfrm>
              <a:off x="5839" y="2581"/>
              <a:ext cx="476" cy="477"/>
            </a:xfrm>
            <a:custGeom>
              <a:avLst/>
              <a:gdLst>
                <a:gd name="T0" fmla="*/ 236 w 476"/>
                <a:gd name="T1" fmla="*/ 0 h 477"/>
                <a:gd name="T2" fmla="*/ 236 w 476"/>
                <a:gd name="T3" fmla="*/ 0 h 477"/>
                <a:gd name="T4" fmla="*/ 214 w 476"/>
                <a:gd name="T5" fmla="*/ 0 h 477"/>
                <a:gd name="T6" fmla="*/ 187 w 476"/>
                <a:gd name="T7" fmla="*/ 4 h 477"/>
                <a:gd name="T8" fmla="*/ 169 w 476"/>
                <a:gd name="T9" fmla="*/ 11 h 477"/>
                <a:gd name="T10" fmla="*/ 146 w 476"/>
                <a:gd name="T11" fmla="*/ 19 h 477"/>
                <a:gd name="T12" fmla="*/ 124 w 476"/>
                <a:gd name="T13" fmla="*/ 30 h 477"/>
                <a:gd name="T14" fmla="*/ 105 w 476"/>
                <a:gd name="T15" fmla="*/ 38 h 477"/>
                <a:gd name="T16" fmla="*/ 86 w 476"/>
                <a:gd name="T17" fmla="*/ 56 h 477"/>
                <a:gd name="T18" fmla="*/ 71 w 476"/>
                <a:gd name="T19" fmla="*/ 68 h 477"/>
                <a:gd name="T20" fmla="*/ 52 w 476"/>
                <a:gd name="T21" fmla="*/ 86 h 477"/>
                <a:gd name="T22" fmla="*/ 41 w 476"/>
                <a:gd name="T23" fmla="*/ 105 h 477"/>
                <a:gd name="T24" fmla="*/ 26 w 476"/>
                <a:gd name="T25" fmla="*/ 128 h 477"/>
                <a:gd name="T26" fmla="*/ 19 w 476"/>
                <a:gd name="T27" fmla="*/ 146 h 477"/>
                <a:gd name="T28" fmla="*/ 11 w 476"/>
                <a:gd name="T29" fmla="*/ 165 h 477"/>
                <a:gd name="T30" fmla="*/ 4 w 476"/>
                <a:gd name="T31" fmla="*/ 192 h 477"/>
                <a:gd name="T32" fmla="*/ 0 w 476"/>
                <a:gd name="T33" fmla="*/ 214 h 477"/>
                <a:gd name="T34" fmla="*/ 0 w 476"/>
                <a:gd name="T35" fmla="*/ 240 h 477"/>
                <a:gd name="T36" fmla="*/ 0 w 476"/>
                <a:gd name="T37" fmla="*/ 263 h 477"/>
                <a:gd name="T38" fmla="*/ 4 w 476"/>
                <a:gd name="T39" fmla="*/ 285 h 477"/>
                <a:gd name="T40" fmla="*/ 11 w 476"/>
                <a:gd name="T41" fmla="*/ 312 h 477"/>
                <a:gd name="T42" fmla="*/ 19 w 476"/>
                <a:gd name="T43" fmla="*/ 330 h 477"/>
                <a:gd name="T44" fmla="*/ 26 w 476"/>
                <a:gd name="T45" fmla="*/ 353 h 477"/>
                <a:gd name="T46" fmla="*/ 41 w 476"/>
                <a:gd name="T47" fmla="*/ 372 h 477"/>
                <a:gd name="T48" fmla="*/ 52 w 476"/>
                <a:gd name="T49" fmla="*/ 390 h 477"/>
                <a:gd name="T50" fmla="*/ 71 w 476"/>
                <a:gd name="T51" fmla="*/ 409 h 477"/>
                <a:gd name="T52" fmla="*/ 86 w 476"/>
                <a:gd name="T53" fmla="*/ 424 h 477"/>
                <a:gd name="T54" fmla="*/ 105 w 476"/>
                <a:gd name="T55" fmla="*/ 439 h 477"/>
                <a:gd name="T56" fmla="*/ 124 w 476"/>
                <a:gd name="T57" fmla="*/ 447 h 477"/>
                <a:gd name="T58" fmla="*/ 146 w 476"/>
                <a:gd name="T59" fmla="*/ 458 h 477"/>
                <a:gd name="T60" fmla="*/ 169 w 476"/>
                <a:gd name="T61" fmla="*/ 465 h 477"/>
                <a:gd name="T62" fmla="*/ 187 w 476"/>
                <a:gd name="T63" fmla="*/ 473 h 477"/>
                <a:gd name="T64" fmla="*/ 214 w 476"/>
                <a:gd name="T65" fmla="*/ 477 h 477"/>
                <a:gd name="T66" fmla="*/ 236 w 476"/>
                <a:gd name="T67" fmla="*/ 477 h 477"/>
                <a:gd name="T68" fmla="*/ 262 w 476"/>
                <a:gd name="T69" fmla="*/ 477 h 477"/>
                <a:gd name="T70" fmla="*/ 285 w 476"/>
                <a:gd name="T71" fmla="*/ 473 h 477"/>
                <a:gd name="T72" fmla="*/ 307 w 476"/>
                <a:gd name="T73" fmla="*/ 465 h 477"/>
                <a:gd name="T74" fmla="*/ 330 w 476"/>
                <a:gd name="T75" fmla="*/ 458 h 477"/>
                <a:gd name="T76" fmla="*/ 349 w 476"/>
                <a:gd name="T77" fmla="*/ 447 h 477"/>
                <a:gd name="T78" fmla="*/ 371 w 476"/>
                <a:gd name="T79" fmla="*/ 439 h 477"/>
                <a:gd name="T80" fmla="*/ 386 w 476"/>
                <a:gd name="T81" fmla="*/ 424 h 477"/>
                <a:gd name="T82" fmla="*/ 405 w 476"/>
                <a:gd name="T83" fmla="*/ 409 h 477"/>
                <a:gd name="T84" fmla="*/ 420 w 476"/>
                <a:gd name="T85" fmla="*/ 394 h 477"/>
                <a:gd name="T86" fmla="*/ 431 w 476"/>
                <a:gd name="T87" fmla="*/ 375 h 477"/>
                <a:gd name="T88" fmla="*/ 446 w 476"/>
                <a:gd name="T89" fmla="*/ 357 h 477"/>
                <a:gd name="T90" fmla="*/ 454 w 476"/>
                <a:gd name="T91" fmla="*/ 334 h 477"/>
                <a:gd name="T92" fmla="*/ 465 w 476"/>
                <a:gd name="T93" fmla="*/ 312 h 477"/>
                <a:gd name="T94" fmla="*/ 469 w 476"/>
                <a:gd name="T95" fmla="*/ 293 h 477"/>
                <a:gd name="T96" fmla="*/ 472 w 476"/>
                <a:gd name="T97" fmla="*/ 270 h 477"/>
                <a:gd name="T98" fmla="*/ 476 w 476"/>
                <a:gd name="T99" fmla="*/ 244 h 477"/>
                <a:gd name="T100" fmla="*/ 236 w 476"/>
                <a:gd name="T101" fmla="*/ 244 h 477"/>
                <a:gd name="T102" fmla="*/ 236 w 476"/>
                <a:gd name="T103"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6" h="477">
                  <a:moveTo>
                    <a:pt x="236" y="0"/>
                  </a:moveTo>
                  <a:lnTo>
                    <a:pt x="236" y="0"/>
                  </a:lnTo>
                  <a:lnTo>
                    <a:pt x="214" y="0"/>
                  </a:lnTo>
                  <a:lnTo>
                    <a:pt x="187" y="4"/>
                  </a:lnTo>
                  <a:lnTo>
                    <a:pt x="169" y="11"/>
                  </a:lnTo>
                  <a:lnTo>
                    <a:pt x="146" y="19"/>
                  </a:lnTo>
                  <a:lnTo>
                    <a:pt x="124" y="30"/>
                  </a:lnTo>
                  <a:lnTo>
                    <a:pt x="105" y="38"/>
                  </a:lnTo>
                  <a:lnTo>
                    <a:pt x="86" y="56"/>
                  </a:lnTo>
                  <a:lnTo>
                    <a:pt x="71" y="68"/>
                  </a:lnTo>
                  <a:lnTo>
                    <a:pt x="52" y="86"/>
                  </a:lnTo>
                  <a:lnTo>
                    <a:pt x="41" y="105"/>
                  </a:lnTo>
                  <a:lnTo>
                    <a:pt x="26" y="128"/>
                  </a:lnTo>
                  <a:lnTo>
                    <a:pt x="19" y="146"/>
                  </a:lnTo>
                  <a:lnTo>
                    <a:pt x="11" y="165"/>
                  </a:lnTo>
                  <a:lnTo>
                    <a:pt x="4" y="192"/>
                  </a:lnTo>
                  <a:lnTo>
                    <a:pt x="0" y="214"/>
                  </a:lnTo>
                  <a:lnTo>
                    <a:pt x="0" y="240"/>
                  </a:lnTo>
                  <a:lnTo>
                    <a:pt x="0" y="263"/>
                  </a:lnTo>
                  <a:lnTo>
                    <a:pt x="4" y="285"/>
                  </a:lnTo>
                  <a:lnTo>
                    <a:pt x="11" y="312"/>
                  </a:lnTo>
                  <a:lnTo>
                    <a:pt x="19" y="330"/>
                  </a:lnTo>
                  <a:lnTo>
                    <a:pt x="26" y="353"/>
                  </a:lnTo>
                  <a:lnTo>
                    <a:pt x="41" y="372"/>
                  </a:lnTo>
                  <a:lnTo>
                    <a:pt x="52" y="390"/>
                  </a:lnTo>
                  <a:lnTo>
                    <a:pt x="71" y="409"/>
                  </a:lnTo>
                  <a:lnTo>
                    <a:pt x="86" y="424"/>
                  </a:lnTo>
                  <a:lnTo>
                    <a:pt x="105" y="439"/>
                  </a:lnTo>
                  <a:lnTo>
                    <a:pt x="124" y="447"/>
                  </a:lnTo>
                  <a:lnTo>
                    <a:pt x="146" y="458"/>
                  </a:lnTo>
                  <a:lnTo>
                    <a:pt x="169" y="465"/>
                  </a:lnTo>
                  <a:lnTo>
                    <a:pt x="187" y="473"/>
                  </a:lnTo>
                  <a:lnTo>
                    <a:pt x="214" y="477"/>
                  </a:lnTo>
                  <a:lnTo>
                    <a:pt x="236" y="477"/>
                  </a:lnTo>
                  <a:lnTo>
                    <a:pt x="262" y="477"/>
                  </a:lnTo>
                  <a:lnTo>
                    <a:pt x="285" y="473"/>
                  </a:lnTo>
                  <a:lnTo>
                    <a:pt x="307" y="465"/>
                  </a:lnTo>
                  <a:lnTo>
                    <a:pt x="330" y="458"/>
                  </a:lnTo>
                  <a:lnTo>
                    <a:pt x="349" y="447"/>
                  </a:lnTo>
                  <a:lnTo>
                    <a:pt x="371" y="439"/>
                  </a:lnTo>
                  <a:lnTo>
                    <a:pt x="386" y="424"/>
                  </a:lnTo>
                  <a:lnTo>
                    <a:pt x="405" y="409"/>
                  </a:lnTo>
                  <a:lnTo>
                    <a:pt x="420" y="394"/>
                  </a:lnTo>
                  <a:lnTo>
                    <a:pt x="431" y="375"/>
                  </a:lnTo>
                  <a:lnTo>
                    <a:pt x="446" y="357"/>
                  </a:lnTo>
                  <a:lnTo>
                    <a:pt x="454" y="334"/>
                  </a:lnTo>
                  <a:lnTo>
                    <a:pt x="465" y="312"/>
                  </a:lnTo>
                  <a:lnTo>
                    <a:pt x="469" y="293"/>
                  </a:lnTo>
                  <a:lnTo>
                    <a:pt x="472" y="270"/>
                  </a:lnTo>
                  <a:lnTo>
                    <a:pt x="476" y="244"/>
                  </a:lnTo>
                  <a:lnTo>
                    <a:pt x="236" y="244"/>
                  </a:lnTo>
                  <a:lnTo>
                    <a:pt x="236"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23">
              <a:extLst>
                <a:ext uri="{FF2B5EF4-FFF2-40B4-BE49-F238E27FC236}">
                  <a16:creationId xmlns:a16="http://schemas.microsoft.com/office/drawing/2014/main" id="{49A1F43A-7858-436B-9FF2-D09905A01EB8}"/>
                </a:ext>
              </a:extLst>
            </p:cNvPr>
            <p:cNvSpPr>
              <a:spLocks noChangeArrowheads="1"/>
            </p:cNvSpPr>
            <p:nvPr/>
          </p:nvSpPr>
          <p:spPr bwMode="auto">
            <a:xfrm>
              <a:off x="6353" y="2214"/>
              <a:ext cx="45" cy="4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4">
              <a:extLst>
                <a:ext uri="{FF2B5EF4-FFF2-40B4-BE49-F238E27FC236}">
                  <a16:creationId xmlns:a16="http://schemas.microsoft.com/office/drawing/2014/main" id="{37576A85-19E3-4452-89A7-EED885C6AEDB}"/>
                </a:ext>
              </a:extLst>
            </p:cNvPr>
            <p:cNvSpPr>
              <a:spLocks noEditPoints="1"/>
            </p:cNvSpPr>
            <p:nvPr/>
          </p:nvSpPr>
          <p:spPr bwMode="auto">
            <a:xfrm>
              <a:off x="5133" y="2153"/>
              <a:ext cx="1426" cy="143"/>
            </a:xfrm>
            <a:custGeom>
              <a:avLst/>
              <a:gdLst>
                <a:gd name="T0" fmla="*/ 0 w 1426"/>
                <a:gd name="T1" fmla="*/ 0 h 143"/>
                <a:gd name="T2" fmla="*/ 0 w 1426"/>
                <a:gd name="T3" fmla="*/ 143 h 143"/>
                <a:gd name="T4" fmla="*/ 1426 w 1426"/>
                <a:gd name="T5" fmla="*/ 143 h 143"/>
                <a:gd name="T6" fmla="*/ 1426 w 1426"/>
                <a:gd name="T7" fmla="*/ 0 h 143"/>
                <a:gd name="T8" fmla="*/ 0 w 1426"/>
                <a:gd name="T9" fmla="*/ 0 h 143"/>
                <a:gd name="T10" fmla="*/ 1163 w 1426"/>
                <a:gd name="T11" fmla="*/ 121 h 143"/>
                <a:gd name="T12" fmla="*/ 1077 w 1426"/>
                <a:gd name="T13" fmla="*/ 121 h 143"/>
                <a:gd name="T14" fmla="*/ 1077 w 1426"/>
                <a:gd name="T15" fmla="*/ 98 h 143"/>
                <a:gd name="T16" fmla="*/ 1163 w 1426"/>
                <a:gd name="T17" fmla="*/ 98 h 143"/>
                <a:gd name="T18" fmla="*/ 1163 w 1426"/>
                <a:gd name="T19" fmla="*/ 121 h 143"/>
                <a:gd name="T20" fmla="*/ 1280 w 1426"/>
                <a:gd name="T21" fmla="*/ 121 h 143"/>
                <a:gd name="T22" fmla="*/ 1205 w 1426"/>
                <a:gd name="T23" fmla="*/ 121 h 143"/>
                <a:gd name="T24" fmla="*/ 1205 w 1426"/>
                <a:gd name="T25" fmla="*/ 42 h 143"/>
                <a:gd name="T26" fmla="*/ 1280 w 1426"/>
                <a:gd name="T27" fmla="*/ 42 h 143"/>
                <a:gd name="T28" fmla="*/ 1280 w 1426"/>
                <a:gd name="T29" fmla="*/ 121 h 143"/>
                <a:gd name="T30" fmla="*/ 1396 w 1426"/>
                <a:gd name="T31" fmla="*/ 106 h 143"/>
                <a:gd name="T32" fmla="*/ 1381 w 1426"/>
                <a:gd name="T33" fmla="*/ 121 h 143"/>
                <a:gd name="T34" fmla="*/ 1359 w 1426"/>
                <a:gd name="T35" fmla="*/ 102 h 143"/>
                <a:gd name="T36" fmla="*/ 1336 w 1426"/>
                <a:gd name="T37" fmla="*/ 121 h 143"/>
                <a:gd name="T38" fmla="*/ 1321 w 1426"/>
                <a:gd name="T39" fmla="*/ 106 h 143"/>
                <a:gd name="T40" fmla="*/ 1340 w 1426"/>
                <a:gd name="T41" fmla="*/ 83 h 143"/>
                <a:gd name="T42" fmla="*/ 1321 w 1426"/>
                <a:gd name="T43" fmla="*/ 61 h 143"/>
                <a:gd name="T44" fmla="*/ 1336 w 1426"/>
                <a:gd name="T45" fmla="*/ 42 h 143"/>
                <a:gd name="T46" fmla="*/ 1359 w 1426"/>
                <a:gd name="T47" fmla="*/ 64 h 143"/>
                <a:gd name="T48" fmla="*/ 1381 w 1426"/>
                <a:gd name="T49" fmla="*/ 42 h 143"/>
                <a:gd name="T50" fmla="*/ 1396 w 1426"/>
                <a:gd name="T51" fmla="*/ 61 h 143"/>
                <a:gd name="T52" fmla="*/ 1374 w 1426"/>
                <a:gd name="T53" fmla="*/ 83 h 143"/>
                <a:gd name="T54" fmla="*/ 1396 w 1426"/>
                <a:gd name="T55" fmla="*/ 10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26" h="143">
                  <a:moveTo>
                    <a:pt x="0" y="0"/>
                  </a:moveTo>
                  <a:lnTo>
                    <a:pt x="0" y="143"/>
                  </a:lnTo>
                  <a:lnTo>
                    <a:pt x="1426" y="143"/>
                  </a:lnTo>
                  <a:lnTo>
                    <a:pt x="1426" y="0"/>
                  </a:lnTo>
                  <a:lnTo>
                    <a:pt x="0" y="0"/>
                  </a:lnTo>
                  <a:close/>
                  <a:moveTo>
                    <a:pt x="1163" y="121"/>
                  </a:moveTo>
                  <a:lnTo>
                    <a:pt x="1077" y="121"/>
                  </a:lnTo>
                  <a:lnTo>
                    <a:pt x="1077" y="98"/>
                  </a:lnTo>
                  <a:lnTo>
                    <a:pt x="1163" y="98"/>
                  </a:lnTo>
                  <a:lnTo>
                    <a:pt x="1163" y="121"/>
                  </a:lnTo>
                  <a:close/>
                  <a:moveTo>
                    <a:pt x="1280" y="121"/>
                  </a:moveTo>
                  <a:lnTo>
                    <a:pt x="1205" y="121"/>
                  </a:lnTo>
                  <a:lnTo>
                    <a:pt x="1205" y="42"/>
                  </a:lnTo>
                  <a:lnTo>
                    <a:pt x="1280" y="42"/>
                  </a:lnTo>
                  <a:lnTo>
                    <a:pt x="1280" y="121"/>
                  </a:lnTo>
                  <a:close/>
                  <a:moveTo>
                    <a:pt x="1396" y="106"/>
                  </a:moveTo>
                  <a:lnTo>
                    <a:pt x="1381" y="121"/>
                  </a:lnTo>
                  <a:lnTo>
                    <a:pt x="1359" y="102"/>
                  </a:lnTo>
                  <a:lnTo>
                    <a:pt x="1336" y="121"/>
                  </a:lnTo>
                  <a:lnTo>
                    <a:pt x="1321" y="106"/>
                  </a:lnTo>
                  <a:lnTo>
                    <a:pt x="1340" y="83"/>
                  </a:lnTo>
                  <a:lnTo>
                    <a:pt x="1321" y="61"/>
                  </a:lnTo>
                  <a:lnTo>
                    <a:pt x="1336" y="42"/>
                  </a:lnTo>
                  <a:lnTo>
                    <a:pt x="1359" y="64"/>
                  </a:lnTo>
                  <a:lnTo>
                    <a:pt x="1381" y="42"/>
                  </a:lnTo>
                  <a:lnTo>
                    <a:pt x="1396" y="61"/>
                  </a:lnTo>
                  <a:lnTo>
                    <a:pt x="1374" y="83"/>
                  </a:lnTo>
                  <a:lnTo>
                    <a:pt x="1396" y="106"/>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5">
              <a:extLst>
                <a:ext uri="{FF2B5EF4-FFF2-40B4-BE49-F238E27FC236}">
                  <a16:creationId xmlns:a16="http://schemas.microsoft.com/office/drawing/2014/main" id="{75618304-7E90-456F-86CD-B16998BB6825}"/>
                </a:ext>
              </a:extLst>
            </p:cNvPr>
            <p:cNvSpPr>
              <a:spLocks noEditPoints="1"/>
            </p:cNvSpPr>
            <p:nvPr/>
          </p:nvSpPr>
          <p:spPr bwMode="auto">
            <a:xfrm>
              <a:off x="5130" y="2326"/>
              <a:ext cx="1422" cy="908"/>
            </a:xfrm>
            <a:custGeom>
              <a:avLst/>
              <a:gdLst>
                <a:gd name="T0" fmla="*/ 0 w 1422"/>
                <a:gd name="T1" fmla="*/ 0 h 908"/>
                <a:gd name="T2" fmla="*/ 0 w 1422"/>
                <a:gd name="T3" fmla="*/ 908 h 908"/>
                <a:gd name="T4" fmla="*/ 1422 w 1422"/>
                <a:gd name="T5" fmla="*/ 908 h 908"/>
                <a:gd name="T6" fmla="*/ 1422 w 1422"/>
                <a:gd name="T7" fmla="*/ 0 h 908"/>
                <a:gd name="T8" fmla="*/ 0 w 1422"/>
                <a:gd name="T9" fmla="*/ 0 h 908"/>
                <a:gd name="T10" fmla="*/ 1354 w 1422"/>
                <a:gd name="T11" fmla="*/ 840 h 908"/>
                <a:gd name="T12" fmla="*/ 71 w 1422"/>
                <a:gd name="T13" fmla="*/ 840 h 908"/>
                <a:gd name="T14" fmla="*/ 71 w 1422"/>
                <a:gd name="T15" fmla="*/ 71 h 908"/>
                <a:gd name="T16" fmla="*/ 1354 w 1422"/>
                <a:gd name="T17" fmla="*/ 71 h 908"/>
                <a:gd name="T18" fmla="*/ 1354 w 1422"/>
                <a:gd name="T19" fmla="*/ 840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2" h="908">
                  <a:moveTo>
                    <a:pt x="0" y="0"/>
                  </a:moveTo>
                  <a:lnTo>
                    <a:pt x="0" y="908"/>
                  </a:lnTo>
                  <a:lnTo>
                    <a:pt x="1422" y="908"/>
                  </a:lnTo>
                  <a:lnTo>
                    <a:pt x="1422" y="0"/>
                  </a:lnTo>
                  <a:lnTo>
                    <a:pt x="0" y="0"/>
                  </a:lnTo>
                  <a:close/>
                  <a:moveTo>
                    <a:pt x="1354" y="840"/>
                  </a:moveTo>
                  <a:lnTo>
                    <a:pt x="71" y="840"/>
                  </a:lnTo>
                  <a:lnTo>
                    <a:pt x="71" y="71"/>
                  </a:lnTo>
                  <a:lnTo>
                    <a:pt x="1354" y="71"/>
                  </a:lnTo>
                  <a:lnTo>
                    <a:pt x="1354" y="84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26">
              <a:extLst>
                <a:ext uri="{FF2B5EF4-FFF2-40B4-BE49-F238E27FC236}">
                  <a16:creationId xmlns:a16="http://schemas.microsoft.com/office/drawing/2014/main" id="{AA2F120D-4B87-4D30-9C9D-2DEE29B9D500}"/>
                </a:ext>
              </a:extLst>
            </p:cNvPr>
            <p:cNvSpPr>
              <a:spLocks noChangeArrowheads="1"/>
            </p:cNvSpPr>
            <p:nvPr/>
          </p:nvSpPr>
          <p:spPr bwMode="auto">
            <a:xfrm>
              <a:off x="5527" y="679"/>
              <a:ext cx="135" cy="1309"/>
            </a:xfrm>
            <a:prstGeom prst="rect">
              <a:avLst/>
            </a:prstGeom>
            <a:solidFill>
              <a:srgbClr val="3410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27">
              <a:extLst>
                <a:ext uri="{FF2B5EF4-FFF2-40B4-BE49-F238E27FC236}">
                  <a16:creationId xmlns:a16="http://schemas.microsoft.com/office/drawing/2014/main" id="{702927A7-2B77-4B1E-A2E6-76EFCDC36E91}"/>
                </a:ext>
              </a:extLst>
            </p:cNvPr>
            <p:cNvSpPr>
              <a:spLocks noChangeArrowheads="1"/>
            </p:cNvSpPr>
            <p:nvPr/>
          </p:nvSpPr>
          <p:spPr bwMode="auto">
            <a:xfrm>
              <a:off x="5527" y="679"/>
              <a:ext cx="135" cy="1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28">
              <a:extLst>
                <a:ext uri="{FF2B5EF4-FFF2-40B4-BE49-F238E27FC236}">
                  <a16:creationId xmlns:a16="http://schemas.microsoft.com/office/drawing/2014/main" id="{EA7A69B3-705F-4641-BAF4-1D77A2ADA394}"/>
                </a:ext>
              </a:extLst>
            </p:cNvPr>
            <p:cNvSpPr>
              <a:spLocks noChangeArrowheads="1"/>
            </p:cNvSpPr>
            <p:nvPr/>
          </p:nvSpPr>
          <p:spPr bwMode="auto">
            <a:xfrm>
              <a:off x="5336" y="1654"/>
              <a:ext cx="135" cy="334"/>
            </a:xfrm>
            <a:prstGeom prst="rect">
              <a:avLst/>
            </a:prstGeom>
            <a:solidFill>
              <a:srgbClr val="4E195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9">
              <a:extLst>
                <a:ext uri="{FF2B5EF4-FFF2-40B4-BE49-F238E27FC236}">
                  <a16:creationId xmlns:a16="http://schemas.microsoft.com/office/drawing/2014/main" id="{3233DBB9-41E0-4F57-81EF-0F876DF0C3C8}"/>
                </a:ext>
              </a:extLst>
            </p:cNvPr>
            <p:cNvSpPr>
              <a:spLocks noChangeArrowheads="1"/>
            </p:cNvSpPr>
            <p:nvPr/>
          </p:nvSpPr>
          <p:spPr bwMode="auto">
            <a:xfrm>
              <a:off x="5336" y="1654"/>
              <a:ext cx="135" cy="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30">
              <a:extLst>
                <a:ext uri="{FF2B5EF4-FFF2-40B4-BE49-F238E27FC236}">
                  <a16:creationId xmlns:a16="http://schemas.microsoft.com/office/drawing/2014/main" id="{8DE603F8-6401-4EDA-B0D6-0FD494A764C2}"/>
                </a:ext>
              </a:extLst>
            </p:cNvPr>
            <p:cNvSpPr>
              <a:spLocks noChangeArrowheads="1"/>
            </p:cNvSpPr>
            <p:nvPr/>
          </p:nvSpPr>
          <p:spPr bwMode="auto">
            <a:xfrm>
              <a:off x="5141" y="1084"/>
              <a:ext cx="135" cy="904"/>
            </a:xfrm>
            <a:prstGeom prst="rect">
              <a:avLst/>
            </a:prstGeom>
            <a:solidFill>
              <a:srgbClr val="B957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31">
              <a:extLst>
                <a:ext uri="{FF2B5EF4-FFF2-40B4-BE49-F238E27FC236}">
                  <a16:creationId xmlns:a16="http://schemas.microsoft.com/office/drawing/2014/main" id="{8D5DB453-34A6-4FCF-9DAB-6480B2BF176E}"/>
                </a:ext>
              </a:extLst>
            </p:cNvPr>
            <p:cNvSpPr>
              <a:spLocks noChangeArrowheads="1"/>
            </p:cNvSpPr>
            <p:nvPr/>
          </p:nvSpPr>
          <p:spPr bwMode="auto">
            <a:xfrm>
              <a:off x="5141" y="1084"/>
              <a:ext cx="135" cy="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32">
              <a:extLst>
                <a:ext uri="{FF2B5EF4-FFF2-40B4-BE49-F238E27FC236}">
                  <a16:creationId xmlns:a16="http://schemas.microsoft.com/office/drawing/2014/main" id="{E155BAB4-1281-434B-80E0-82968FCB49D5}"/>
                </a:ext>
              </a:extLst>
            </p:cNvPr>
            <p:cNvSpPr>
              <a:spLocks noChangeArrowheads="1"/>
            </p:cNvSpPr>
            <p:nvPr/>
          </p:nvSpPr>
          <p:spPr bwMode="auto">
            <a:xfrm>
              <a:off x="4942" y="848"/>
              <a:ext cx="139" cy="114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33">
              <a:extLst>
                <a:ext uri="{FF2B5EF4-FFF2-40B4-BE49-F238E27FC236}">
                  <a16:creationId xmlns:a16="http://schemas.microsoft.com/office/drawing/2014/main" id="{79B10380-71C1-403E-A75B-D4B4CD110832}"/>
                </a:ext>
              </a:extLst>
            </p:cNvPr>
            <p:cNvSpPr>
              <a:spLocks noChangeArrowheads="1"/>
            </p:cNvSpPr>
            <p:nvPr/>
          </p:nvSpPr>
          <p:spPr bwMode="auto">
            <a:xfrm>
              <a:off x="4942" y="848"/>
              <a:ext cx="139" cy="1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34">
              <a:extLst>
                <a:ext uri="{FF2B5EF4-FFF2-40B4-BE49-F238E27FC236}">
                  <a16:creationId xmlns:a16="http://schemas.microsoft.com/office/drawing/2014/main" id="{69CD742F-1FE1-4175-BD3D-1AD0BFC9D47B}"/>
                </a:ext>
              </a:extLst>
            </p:cNvPr>
            <p:cNvSpPr>
              <a:spLocks noChangeArrowheads="1"/>
            </p:cNvSpPr>
            <p:nvPr/>
          </p:nvSpPr>
          <p:spPr bwMode="auto">
            <a:xfrm>
              <a:off x="4751" y="1279"/>
              <a:ext cx="135" cy="709"/>
            </a:xfrm>
            <a:prstGeom prst="rect">
              <a:avLst/>
            </a:prstGeom>
            <a:solidFill>
              <a:srgbClr val="D08F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35">
              <a:extLst>
                <a:ext uri="{FF2B5EF4-FFF2-40B4-BE49-F238E27FC236}">
                  <a16:creationId xmlns:a16="http://schemas.microsoft.com/office/drawing/2014/main" id="{2DDD89DE-456D-4B71-85BE-D75348BCD406}"/>
                </a:ext>
              </a:extLst>
            </p:cNvPr>
            <p:cNvSpPr>
              <a:spLocks noChangeArrowheads="1"/>
            </p:cNvSpPr>
            <p:nvPr/>
          </p:nvSpPr>
          <p:spPr bwMode="auto">
            <a:xfrm>
              <a:off x="5963" y="555"/>
              <a:ext cx="457" cy="7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36">
              <a:extLst>
                <a:ext uri="{FF2B5EF4-FFF2-40B4-BE49-F238E27FC236}">
                  <a16:creationId xmlns:a16="http://schemas.microsoft.com/office/drawing/2014/main" id="{913477B1-A855-4F4F-BCFA-5A6E2A8654BE}"/>
                </a:ext>
              </a:extLst>
            </p:cNvPr>
            <p:cNvSpPr>
              <a:spLocks noChangeArrowheads="1"/>
            </p:cNvSpPr>
            <p:nvPr/>
          </p:nvSpPr>
          <p:spPr bwMode="auto">
            <a:xfrm>
              <a:off x="5846" y="555"/>
              <a:ext cx="75" cy="7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37">
              <a:extLst>
                <a:ext uri="{FF2B5EF4-FFF2-40B4-BE49-F238E27FC236}">
                  <a16:creationId xmlns:a16="http://schemas.microsoft.com/office/drawing/2014/main" id="{A50319B5-4E1F-4823-8877-C122434079F6}"/>
                </a:ext>
              </a:extLst>
            </p:cNvPr>
            <p:cNvSpPr>
              <a:spLocks noChangeArrowheads="1"/>
            </p:cNvSpPr>
            <p:nvPr/>
          </p:nvSpPr>
          <p:spPr bwMode="auto">
            <a:xfrm>
              <a:off x="5963" y="705"/>
              <a:ext cx="495" cy="6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8">
              <a:extLst>
                <a:ext uri="{FF2B5EF4-FFF2-40B4-BE49-F238E27FC236}">
                  <a16:creationId xmlns:a16="http://schemas.microsoft.com/office/drawing/2014/main" id="{E4CBA970-483C-4FDD-A3E5-43E347AEEA3F}"/>
                </a:ext>
              </a:extLst>
            </p:cNvPr>
            <p:cNvSpPr>
              <a:spLocks noChangeArrowheads="1"/>
            </p:cNvSpPr>
            <p:nvPr/>
          </p:nvSpPr>
          <p:spPr bwMode="auto">
            <a:xfrm>
              <a:off x="5846" y="705"/>
              <a:ext cx="75" cy="6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39">
              <a:extLst>
                <a:ext uri="{FF2B5EF4-FFF2-40B4-BE49-F238E27FC236}">
                  <a16:creationId xmlns:a16="http://schemas.microsoft.com/office/drawing/2014/main" id="{ECD6275E-6D81-4112-8A3C-45D5EFA3386A}"/>
                </a:ext>
              </a:extLst>
            </p:cNvPr>
            <p:cNvSpPr>
              <a:spLocks noChangeArrowheads="1"/>
            </p:cNvSpPr>
            <p:nvPr/>
          </p:nvSpPr>
          <p:spPr bwMode="auto">
            <a:xfrm>
              <a:off x="5963" y="844"/>
              <a:ext cx="363" cy="7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40">
              <a:extLst>
                <a:ext uri="{FF2B5EF4-FFF2-40B4-BE49-F238E27FC236}">
                  <a16:creationId xmlns:a16="http://schemas.microsoft.com/office/drawing/2014/main" id="{C5ACBD1D-260B-43A5-BF1F-9E30B4729A5D}"/>
                </a:ext>
              </a:extLst>
            </p:cNvPr>
            <p:cNvSpPr>
              <a:spLocks noChangeArrowheads="1"/>
            </p:cNvSpPr>
            <p:nvPr/>
          </p:nvSpPr>
          <p:spPr bwMode="auto">
            <a:xfrm>
              <a:off x="5846" y="844"/>
              <a:ext cx="75" cy="7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Rectangle 41">
              <a:extLst>
                <a:ext uri="{FF2B5EF4-FFF2-40B4-BE49-F238E27FC236}">
                  <a16:creationId xmlns:a16="http://schemas.microsoft.com/office/drawing/2014/main" id="{7C4534E4-85D8-4BC9-8DDE-A6B90780EC7A}"/>
                </a:ext>
              </a:extLst>
            </p:cNvPr>
            <p:cNvSpPr>
              <a:spLocks noChangeArrowheads="1"/>
            </p:cNvSpPr>
            <p:nvPr/>
          </p:nvSpPr>
          <p:spPr bwMode="auto">
            <a:xfrm>
              <a:off x="5963" y="1069"/>
              <a:ext cx="457" cy="6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42">
              <a:extLst>
                <a:ext uri="{FF2B5EF4-FFF2-40B4-BE49-F238E27FC236}">
                  <a16:creationId xmlns:a16="http://schemas.microsoft.com/office/drawing/2014/main" id="{00171F1B-C7DC-45CD-B154-2C3E62FEE427}"/>
                </a:ext>
              </a:extLst>
            </p:cNvPr>
            <p:cNvSpPr>
              <a:spLocks noChangeArrowheads="1"/>
            </p:cNvSpPr>
            <p:nvPr/>
          </p:nvSpPr>
          <p:spPr bwMode="auto">
            <a:xfrm>
              <a:off x="5963" y="1069"/>
              <a:ext cx="457"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43">
              <a:extLst>
                <a:ext uri="{FF2B5EF4-FFF2-40B4-BE49-F238E27FC236}">
                  <a16:creationId xmlns:a16="http://schemas.microsoft.com/office/drawing/2014/main" id="{7CF55E55-BC41-4A41-ABC7-4243BD73ACDD}"/>
                </a:ext>
              </a:extLst>
            </p:cNvPr>
            <p:cNvSpPr>
              <a:spLocks noChangeArrowheads="1"/>
            </p:cNvSpPr>
            <p:nvPr/>
          </p:nvSpPr>
          <p:spPr bwMode="auto">
            <a:xfrm>
              <a:off x="5846" y="1069"/>
              <a:ext cx="75" cy="6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44">
              <a:extLst>
                <a:ext uri="{FF2B5EF4-FFF2-40B4-BE49-F238E27FC236}">
                  <a16:creationId xmlns:a16="http://schemas.microsoft.com/office/drawing/2014/main" id="{CB7DE2DA-2C3E-4291-BEF9-A6120975A80F}"/>
                </a:ext>
              </a:extLst>
            </p:cNvPr>
            <p:cNvSpPr>
              <a:spLocks noChangeArrowheads="1"/>
            </p:cNvSpPr>
            <p:nvPr/>
          </p:nvSpPr>
          <p:spPr bwMode="auto">
            <a:xfrm>
              <a:off x="5963" y="1216"/>
              <a:ext cx="495" cy="7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Rectangle 45">
              <a:extLst>
                <a:ext uri="{FF2B5EF4-FFF2-40B4-BE49-F238E27FC236}">
                  <a16:creationId xmlns:a16="http://schemas.microsoft.com/office/drawing/2014/main" id="{5812AEEF-2BA6-4392-A980-DAE448EFA7C5}"/>
                </a:ext>
              </a:extLst>
            </p:cNvPr>
            <p:cNvSpPr>
              <a:spLocks noChangeArrowheads="1"/>
            </p:cNvSpPr>
            <p:nvPr/>
          </p:nvSpPr>
          <p:spPr bwMode="auto">
            <a:xfrm>
              <a:off x="5963" y="1216"/>
              <a:ext cx="495" cy="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46">
              <a:extLst>
                <a:ext uri="{FF2B5EF4-FFF2-40B4-BE49-F238E27FC236}">
                  <a16:creationId xmlns:a16="http://schemas.microsoft.com/office/drawing/2014/main" id="{136E0BED-B226-4EDD-987B-39CFF5496BD9}"/>
                </a:ext>
              </a:extLst>
            </p:cNvPr>
            <p:cNvSpPr>
              <a:spLocks noChangeArrowheads="1"/>
            </p:cNvSpPr>
            <p:nvPr/>
          </p:nvSpPr>
          <p:spPr bwMode="auto">
            <a:xfrm>
              <a:off x="5846" y="1216"/>
              <a:ext cx="75" cy="7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47">
              <a:extLst>
                <a:ext uri="{FF2B5EF4-FFF2-40B4-BE49-F238E27FC236}">
                  <a16:creationId xmlns:a16="http://schemas.microsoft.com/office/drawing/2014/main" id="{66310712-DFF8-4592-AD40-A8611A09F8DB}"/>
                </a:ext>
              </a:extLst>
            </p:cNvPr>
            <p:cNvSpPr>
              <a:spLocks noChangeArrowheads="1"/>
            </p:cNvSpPr>
            <p:nvPr/>
          </p:nvSpPr>
          <p:spPr bwMode="auto">
            <a:xfrm>
              <a:off x="5963" y="1354"/>
              <a:ext cx="363" cy="7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8">
              <a:extLst>
                <a:ext uri="{FF2B5EF4-FFF2-40B4-BE49-F238E27FC236}">
                  <a16:creationId xmlns:a16="http://schemas.microsoft.com/office/drawing/2014/main" id="{DB223D07-736E-44F2-94BD-5B82E813F25C}"/>
                </a:ext>
              </a:extLst>
            </p:cNvPr>
            <p:cNvSpPr>
              <a:spLocks noChangeArrowheads="1"/>
            </p:cNvSpPr>
            <p:nvPr/>
          </p:nvSpPr>
          <p:spPr bwMode="auto">
            <a:xfrm>
              <a:off x="5963" y="1354"/>
              <a:ext cx="363" cy="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49">
              <a:extLst>
                <a:ext uri="{FF2B5EF4-FFF2-40B4-BE49-F238E27FC236}">
                  <a16:creationId xmlns:a16="http://schemas.microsoft.com/office/drawing/2014/main" id="{3DFDA691-2C6E-47D2-95E2-F6ED8736889E}"/>
                </a:ext>
              </a:extLst>
            </p:cNvPr>
            <p:cNvSpPr>
              <a:spLocks noChangeArrowheads="1"/>
            </p:cNvSpPr>
            <p:nvPr/>
          </p:nvSpPr>
          <p:spPr bwMode="auto">
            <a:xfrm>
              <a:off x="5846" y="1354"/>
              <a:ext cx="75" cy="7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0">
              <a:extLst>
                <a:ext uri="{FF2B5EF4-FFF2-40B4-BE49-F238E27FC236}">
                  <a16:creationId xmlns:a16="http://schemas.microsoft.com/office/drawing/2014/main" id="{DCF8CA61-4808-4FDD-AA95-466060F8E133}"/>
                </a:ext>
              </a:extLst>
            </p:cNvPr>
            <p:cNvSpPr>
              <a:spLocks noEditPoints="1"/>
            </p:cNvSpPr>
            <p:nvPr/>
          </p:nvSpPr>
          <p:spPr bwMode="auto">
            <a:xfrm>
              <a:off x="5081" y="1137"/>
              <a:ext cx="675" cy="574"/>
            </a:xfrm>
            <a:custGeom>
              <a:avLst/>
              <a:gdLst>
                <a:gd name="T0" fmla="*/ 155 w 180"/>
                <a:gd name="T1" fmla="*/ 28 h 153"/>
                <a:gd name="T2" fmla="*/ 155 w 180"/>
                <a:gd name="T3" fmla="*/ 126 h 153"/>
                <a:gd name="T4" fmla="*/ 180 w 180"/>
                <a:gd name="T5" fmla="*/ 77 h 153"/>
                <a:gd name="T6" fmla="*/ 155 w 180"/>
                <a:gd name="T7" fmla="*/ 28 h 153"/>
                <a:gd name="T8" fmla="*/ 16 w 180"/>
                <a:gd name="T9" fmla="*/ 13 h 153"/>
                <a:gd name="T10" fmla="*/ 0 w 180"/>
                <a:gd name="T11" fmla="*/ 23 h 153"/>
                <a:gd name="T12" fmla="*/ 0 w 180"/>
                <a:gd name="T13" fmla="*/ 131 h 153"/>
                <a:gd name="T14" fmla="*/ 16 w 180"/>
                <a:gd name="T15" fmla="*/ 141 h 153"/>
                <a:gd name="T16" fmla="*/ 16 w 180"/>
                <a:gd name="T17" fmla="*/ 13 h 153"/>
                <a:gd name="T18" fmla="*/ 74 w 180"/>
                <a:gd name="T19" fmla="*/ 0 h 153"/>
                <a:gd name="T20" fmla="*/ 52 w 180"/>
                <a:gd name="T21" fmla="*/ 2 h 153"/>
                <a:gd name="T22" fmla="*/ 52 w 180"/>
                <a:gd name="T23" fmla="*/ 152 h 153"/>
                <a:gd name="T24" fmla="*/ 68 w 180"/>
                <a:gd name="T25" fmla="*/ 153 h 153"/>
                <a:gd name="T26" fmla="*/ 68 w 180"/>
                <a:gd name="T27" fmla="*/ 138 h 153"/>
                <a:gd name="T28" fmla="*/ 104 w 180"/>
                <a:gd name="T29" fmla="*/ 138 h 153"/>
                <a:gd name="T30" fmla="*/ 104 w 180"/>
                <a:gd name="T31" fmla="*/ 150 h 153"/>
                <a:gd name="T32" fmla="*/ 119 w 180"/>
                <a:gd name="T33" fmla="*/ 146 h 153"/>
                <a:gd name="T34" fmla="*/ 119 w 180"/>
                <a:gd name="T35" fmla="*/ 7 h 153"/>
                <a:gd name="T36" fmla="*/ 74 w 180"/>
                <a:gd name="T3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0" h="153">
                  <a:moveTo>
                    <a:pt x="155" y="28"/>
                  </a:moveTo>
                  <a:cubicBezTo>
                    <a:pt x="155" y="126"/>
                    <a:pt x="155" y="126"/>
                    <a:pt x="155" y="126"/>
                  </a:cubicBezTo>
                  <a:cubicBezTo>
                    <a:pt x="171" y="113"/>
                    <a:pt x="180" y="96"/>
                    <a:pt x="180" y="77"/>
                  </a:cubicBezTo>
                  <a:cubicBezTo>
                    <a:pt x="180" y="58"/>
                    <a:pt x="171" y="41"/>
                    <a:pt x="155" y="28"/>
                  </a:cubicBezTo>
                  <a:moveTo>
                    <a:pt x="16" y="13"/>
                  </a:moveTo>
                  <a:cubicBezTo>
                    <a:pt x="10" y="16"/>
                    <a:pt x="5" y="19"/>
                    <a:pt x="0" y="23"/>
                  </a:cubicBezTo>
                  <a:cubicBezTo>
                    <a:pt x="0" y="131"/>
                    <a:pt x="0" y="131"/>
                    <a:pt x="0" y="131"/>
                  </a:cubicBezTo>
                  <a:cubicBezTo>
                    <a:pt x="5" y="134"/>
                    <a:pt x="10" y="138"/>
                    <a:pt x="16" y="141"/>
                  </a:cubicBezTo>
                  <a:cubicBezTo>
                    <a:pt x="16" y="13"/>
                    <a:pt x="16" y="13"/>
                    <a:pt x="16" y="13"/>
                  </a:cubicBezTo>
                  <a:moveTo>
                    <a:pt x="74" y="0"/>
                  </a:moveTo>
                  <a:cubicBezTo>
                    <a:pt x="67" y="0"/>
                    <a:pt x="60" y="1"/>
                    <a:pt x="52" y="2"/>
                  </a:cubicBezTo>
                  <a:cubicBezTo>
                    <a:pt x="52" y="152"/>
                    <a:pt x="52" y="152"/>
                    <a:pt x="52" y="152"/>
                  </a:cubicBezTo>
                  <a:cubicBezTo>
                    <a:pt x="57" y="152"/>
                    <a:pt x="62" y="153"/>
                    <a:pt x="68" y="153"/>
                  </a:cubicBezTo>
                  <a:cubicBezTo>
                    <a:pt x="68" y="138"/>
                    <a:pt x="68" y="138"/>
                    <a:pt x="68" y="138"/>
                  </a:cubicBezTo>
                  <a:cubicBezTo>
                    <a:pt x="104" y="138"/>
                    <a:pt x="104" y="138"/>
                    <a:pt x="104" y="138"/>
                  </a:cubicBezTo>
                  <a:cubicBezTo>
                    <a:pt x="104" y="150"/>
                    <a:pt x="104" y="150"/>
                    <a:pt x="104" y="150"/>
                  </a:cubicBezTo>
                  <a:cubicBezTo>
                    <a:pt x="109" y="149"/>
                    <a:pt x="114" y="148"/>
                    <a:pt x="119" y="146"/>
                  </a:cubicBezTo>
                  <a:cubicBezTo>
                    <a:pt x="119" y="7"/>
                    <a:pt x="119" y="7"/>
                    <a:pt x="119" y="7"/>
                  </a:cubicBezTo>
                  <a:cubicBezTo>
                    <a:pt x="105" y="3"/>
                    <a:pt x="90" y="0"/>
                    <a:pt x="74" y="0"/>
                  </a:cubicBezTo>
                </a:path>
              </a:pathLst>
            </a:custGeom>
            <a:solidFill>
              <a:srgbClr val="D8F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1">
              <a:extLst>
                <a:ext uri="{FF2B5EF4-FFF2-40B4-BE49-F238E27FC236}">
                  <a16:creationId xmlns:a16="http://schemas.microsoft.com/office/drawing/2014/main" id="{48C5CF76-EE89-4E83-BFA8-3E1FA3718478}"/>
                </a:ext>
              </a:extLst>
            </p:cNvPr>
            <p:cNvSpPr>
              <a:spLocks/>
            </p:cNvSpPr>
            <p:nvPr/>
          </p:nvSpPr>
          <p:spPr bwMode="auto">
            <a:xfrm>
              <a:off x="5527" y="1163"/>
              <a:ext cx="135" cy="522"/>
            </a:xfrm>
            <a:custGeom>
              <a:avLst/>
              <a:gdLst>
                <a:gd name="T0" fmla="*/ 0 w 36"/>
                <a:gd name="T1" fmla="*/ 0 h 139"/>
                <a:gd name="T2" fmla="*/ 0 w 36"/>
                <a:gd name="T3" fmla="*/ 139 h 139"/>
                <a:gd name="T4" fmla="*/ 36 w 36"/>
                <a:gd name="T5" fmla="*/ 119 h 139"/>
                <a:gd name="T6" fmla="*/ 36 w 36"/>
                <a:gd name="T7" fmla="*/ 21 h 139"/>
                <a:gd name="T8" fmla="*/ 0 w 36"/>
                <a:gd name="T9" fmla="*/ 0 h 139"/>
              </a:gdLst>
              <a:ahLst/>
              <a:cxnLst>
                <a:cxn ang="0">
                  <a:pos x="T0" y="T1"/>
                </a:cxn>
                <a:cxn ang="0">
                  <a:pos x="T2" y="T3"/>
                </a:cxn>
                <a:cxn ang="0">
                  <a:pos x="T4" y="T5"/>
                </a:cxn>
                <a:cxn ang="0">
                  <a:pos x="T6" y="T7"/>
                </a:cxn>
                <a:cxn ang="0">
                  <a:pos x="T8" y="T9"/>
                </a:cxn>
              </a:cxnLst>
              <a:rect l="0" t="0" r="r" b="b"/>
              <a:pathLst>
                <a:path w="36" h="139">
                  <a:moveTo>
                    <a:pt x="0" y="0"/>
                  </a:moveTo>
                  <a:cubicBezTo>
                    <a:pt x="0" y="139"/>
                    <a:pt x="0" y="139"/>
                    <a:pt x="0" y="139"/>
                  </a:cubicBezTo>
                  <a:cubicBezTo>
                    <a:pt x="14" y="135"/>
                    <a:pt x="26" y="128"/>
                    <a:pt x="36" y="119"/>
                  </a:cubicBezTo>
                  <a:cubicBezTo>
                    <a:pt x="36" y="21"/>
                    <a:pt x="36" y="21"/>
                    <a:pt x="36" y="21"/>
                  </a:cubicBezTo>
                  <a:cubicBezTo>
                    <a:pt x="26" y="12"/>
                    <a:pt x="14" y="5"/>
                    <a:pt x="0" y="0"/>
                  </a:cubicBezTo>
                </a:path>
              </a:pathLst>
            </a:custGeom>
            <a:solidFill>
              <a:srgbClr val="A0B4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2">
              <a:extLst>
                <a:ext uri="{FF2B5EF4-FFF2-40B4-BE49-F238E27FC236}">
                  <a16:creationId xmlns:a16="http://schemas.microsoft.com/office/drawing/2014/main" id="{A1D5E926-D6D0-4480-B0C0-57E45567270E}"/>
                </a:ext>
              </a:extLst>
            </p:cNvPr>
            <p:cNvSpPr>
              <a:spLocks/>
            </p:cNvSpPr>
            <p:nvPr/>
          </p:nvSpPr>
          <p:spPr bwMode="auto">
            <a:xfrm>
              <a:off x="5336" y="1654"/>
              <a:ext cx="135" cy="57"/>
            </a:xfrm>
            <a:custGeom>
              <a:avLst/>
              <a:gdLst>
                <a:gd name="T0" fmla="*/ 36 w 36"/>
                <a:gd name="T1" fmla="*/ 0 h 15"/>
                <a:gd name="T2" fmla="*/ 0 w 36"/>
                <a:gd name="T3" fmla="*/ 0 h 15"/>
                <a:gd name="T4" fmla="*/ 0 w 36"/>
                <a:gd name="T5" fmla="*/ 15 h 15"/>
                <a:gd name="T6" fmla="*/ 6 w 36"/>
                <a:gd name="T7" fmla="*/ 15 h 15"/>
                <a:gd name="T8" fmla="*/ 36 w 36"/>
                <a:gd name="T9" fmla="*/ 12 h 15"/>
                <a:gd name="T10" fmla="*/ 36 w 36"/>
                <a:gd name="T11" fmla="*/ 0 h 15"/>
              </a:gdLst>
              <a:ahLst/>
              <a:cxnLst>
                <a:cxn ang="0">
                  <a:pos x="T0" y="T1"/>
                </a:cxn>
                <a:cxn ang="0">
                  <a:pos x="T2" y="T3"/>
                </a:cxn>
                <a:cxn ang="0">
                  <a:pos x="T4" y="T5"/>
                </a:cxn>
                <a:cxn ang="0">
                  <a:pos x="T6" y="T7"/>
                </a:cxn>
                <a:cxn ang="0">
                  <a:pos x="T8" y="T9"/>
                </a:cxn>
                <a:cxn ang="0">
                  <a:pos x="T10" y="T11"/>
                </a:cxn>
              </a:cxnLst>
              <a:rect l="0" t="0" r="r" b="b"/>
              <a:pathLst>
                <a:path w="36" h="15">
                  <a:moveTo>
                    <a:pt x="36" y="0"/>
                  </a:moveTo>
                  <a:cubicBezTo>
                    <a:pt x="0" y="0"/>
                    <a:pt x="0" y="0"/>
                    <a:pt x="0" y="0"/>
                  </a:cubicBezTo>
                  <a:cubicBezTo>
                    <a:pt x="0" y="15"/>
                    <a:pt x="0" y="15"/>
                    <a:pt x="0" y="15"/>
                  </a:cubicBezTo>
                  <a:cubicBezTo>
                    <a:pt x="2" y="15"/>
                    <a:pt x="4" y="15"/>
                    <a:pt x="6" y="15"/>
                  </a:cubicBezTo>
                  <a:cubicBezTo>
                    <a:pt x="17" y="15"/>
                    <a:pt x="27" y="14"/>
                    <a:pt x="36" y="12"/>
                  </a:cubicBezTo>
                  <a:cubicBezTo>
                    <a:pt x="36" y="0"/>
                    <a:pt x="36" y="0"/>
                    <a:pt x="36" y="0"/>
                  </a:cubicBezTo>
                </a:path>
              </a:pathLst>
            </a:custGeom>
            <a:solidFill>
              <a:srgbClr val="A7B6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3">
              <a:extLst>
                <a:ext uri="{FF2B5EF4-FFF2-40B4-BE49-F238E27FC236}">
                  <a16:creationId xmlns:a16="http://schemas.microsoft.com/office/drawing/2014/main" id="{292BA0DF-4C95-4390-8710-690042ED3C61}"/>
                </a:ext>
              </a:extLst>
            </p:cNvPr>
            <p:cNvSpPr>
              <a:spLocks/>
            </p:cNvSpPr>
            <p:nvPr/>
          </p:nvSpPr>
          <p:spPr bwMode="auto">
            <a:xfrm>
              <a:off x="5141" y="1144"/>
              <a:ext cx="135" cy="563"/>
            </a:xfrm>
            <a:custGeom>
              <a:avLst/>
              <a:gdLst>
                <a:gd name="T0" fmla="*/ 36 w 36"/>
                <a:gd name="T1" fmla="*/ 0 h 150"/>
                <a:gd name="T2" fmla="*/ 0 w 36"/>
                <a:gd name="T3" fmla="*/ 11 h 150"/>
                <a:gd name="T4" fmla="*/ 0 w 36"/>
                <a:gd name="T5" fmla="*/ 139 h 150"/>
                <a:gd name="T6" fmla="*/ 36 w 36"/>
                <a:gd name="T7" fmla="*/ 150 h 150"/>
                <a:gd name="T8" fmla="*/ 36 w 36"/>
                <a:gd name="T9" fmla="*/ 0 h 150"/>
              </a:gdLst>
              <a:ahLst/>
              <a:cxnLst>
                <a:cxn ang="0">
                  <a:pos x="T0" y="T1"/>
                </a:cxn>
                <a:cxn ang="0">
                  <a:pos x="T2" y="T3"/>
                </a:cxn>
                <a:cxn ang="0">
                  <a:pos x="T4" y="T5"/>
                </a:cxn>
                <a:cxn ang="0">
                  <a:pos x="T6" y="T7"/>
                </a:cxn>
                <a:cxn ang="0">
                  <a:pos x="T8" y="T9"/>
                </a:cxn>
              </a:cxnLst>
              <a:rect l="0" t="0" r="r" b="b"/>
              <a:pathLst>
                <a:path w="36" h="150">
                  <a:moveTo>
                    <a:pt x="36" y="0"/>
                  </a:moveTo>
                  <a:cubicBezTo>
                    <a:pt x="23" y="2"/>
                    <a:pt x="11" y="6"/>
                    <a:pt x="0" y="11"/>
                  </a:cubicBezTo>
                  <a:cubicBezTo>
                    <a:pt x="0" y="139"/>
                    <a:pt x="0" y="139"/>
                    <a:pt x="0" y="139"/>
                  </a:cubicBezTo>
                  <a:cubicBezTo>
                    <a:pt x="11" y="144"/>
                    <a:pt x="23" y="148"/>
                    <a:pt x="36" y="150"/>
                  </a:cubicBezTo>
                  <a:cubicBezTo>
                    <a:pt x="36" y="0"/>
                    <a:pt x="36" y="0"/>
                    <a:pt x="36" y="0"/>
                  </a:cubicBezTo>
                </a:path>
              </a:pathLst>
            </a:custGeom>
            <a:solidFill>
              <a:srgbClr val="C5C8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4">
              <a:extLst>
                <a:ext uri="{FF2B5EF4-FFF2-40B4-BE49-F238E27FC236}">
                  <a16:creationId xmlns:a16="http://schemas.microsoft.com/office/drawing/2014/main" id="{DEB64A83-5FE1-4F69-BE20-3ED58B1AAB9D}"/>
                </a:ext>
              </a:extLst>
            </p:cNvPr>
            <p:cNvSpPr>
              <a:spLocks/>
            </p:cNvSpPr>
            <p:nvPr/>
          </p:nvSpPr>
          <p:spPr bwMode="auto">
            <a:xfrm>
              <a:off x="4965" y="1223"/>
              <a:ext cx="116" cy="405"/>
            </a:xfrm>
            <a:custGeom>
              <a:avLst/>
              <a:gdLst>
                <a:gd name="T0" fmla="*/ 31 w 31"/>
                <a:gd name="T1" fmla="*/ 0 h 108"/>
                <a:gd name="T2" fmla="*/ 0 w 31"/>
                <a:gd name="T3" fmla="*/ 54 h 108"/>
                <a:gd name="T4" fmla="*/ 31 w 31"/>
                <a:gd name="T5" fmla="*/ 108 h 108"/>
                <a:gd name="T6" fmla="*/ 31 w 31"/>
                <a:gd name="T7" fmla="*/ 0 h 108"/>
              </a:gdLst>
              <a:ahLst/>
              <a:cxnLst>
                <a:cxn ang="0">
                  <a:pos x="T0" y="T1"/>
                </a:cxn>
                <a:cxn ang="0">
                  <a:pos x="T2" y="T3"/>
                </a:cxn>
                <a:cxn ang="0">
                  <a:pos x="T4" y="T5"/>
                </a:cxn>
                <a:cxn ang="0">
                  <a:pos x="T6" y="T7"/>
                </a:cxn>
              </a:cxnLst>
              <a:rect l="0" t="0" r="r" b="b"/>
              <a:pathLst>
                <a:path w="31" h="108">
                  <a:moveTo>
                    <a:pt x="31" y="0"/>
                  </a:moveTo>
                  <a:cubicBezTo>
                    <a:pt x="12" y="14"/>
                    <a:pt x="0" y="33"/>
                    <a:pt x="0" y="54"/>
                  </a:cubicBezTo>
                  <a:cubicBezTo>
                    <a:pt x="0" y="75"/>
                    <a:pt x="12" y="94"/>
                    <a:pt x="31" y="108"/>
                  </a:cubicBezTo>
                  <a:cubicBezTo>
                    <a:pt x="31" y="0"/>
                    <a:pt x="31" y="0"/>
                    <a:pt x="31" y="0"/>
                  </a:cubicBezTo>
                </a:path>
              </a:pathLst>
            </a:custGeom>
            <a:solidFill>
              <a:srgbClr val="AEB9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5">
              <a:extLst>
                <a:ext uri="{FF2B5EF4-FFF2-40B4-BE49-F238E27FC236}">
                  <a16:creationId xmlns:a16="http://schemas.microsoft.com/office/drawing/2014/main" id="{617E6B78-8726-4B8C-B9B9-025FEEDC27D1}"/>
                </a:ext>
              </a:extLst>
            </p:cNvPr>
            <p:cNvSpPr>
              <a:spLocks/>
            </p:cNvSpPr>
            <p:nvPr/>
          </p:nvSpPr>
          <p:spPr bwMode="auto">
            <a:xfrm>
              <a:off x="6011" y="1103"/>
              <a:ext cx="762" cy="578"/>
            </a:xfrm>
            <a:custGeom>
              <a:avLst/>
              <a:gdLst>
                <a:gd name="T0" fmla="*/ 109 w 203"/>
                <a:gd name="T1" fmla="*/ 0 h 154"/>
                <a:gd name="T2" fmla="*/ 109 w 203"/>
                <a:gd name="T3" fmla="*/ 9 h 154"/>
                <a:gd name="T4" fmla="*/ 52 w 203"/>
                <a:gd name="T5" fmla="*/ 9 h 154"/>
                <a:gd name="T6" fmla="*/ 21 w 203"/>
                <a:gd name="T7" fmla="*/ 30 h 154"/>
                <a:gd name="T8" fmla="*/ 119 w 203"/>
                <a:gd name="T9" fmla="*/ 30 h 154"/>
                <a:gd name="T10" fmla="*/ 119 w 203"/>
                <a:gd name="T11" fmla="*/ 49 h 154"/>
                <a:gd name="T12" fmla="*/ 7 w 203"/>
                <a:gd name="T13" fmla="*/ 49 h 154"/>
                <a:gd name="T14" fmla="*/ 0 w 203"/>
                <a:gd name="T15" fmla="*/ 67 h 154"/>
                <a:gd name="T16" fmla="*/ 84 w 203"/>
                <a:gd name="T17" fmla="*/ 67 h 154"/>
                <a:gd name="T18" fmla="*/ 84 w 203"/>
                <a:gd name="T19" fmla="*/ 86 h 154"/>
                <a:gd name="T20" fmla="*/ 0 w 203"/>
                <a:gd name="T21" fmla="*/ 86 h 154"/>
                <a:gd name="T22" fmla="*/ 49 w 203"/>
                <a:gd name="T23" fmla="*/ 142 h 154"/>
                <a:gd name="T24" fmla="*/ 52 w 203"/>
                <a:gd name="T25" fmla="*/ 140 h 154"/>
                <a:gd name="T26" fmla="*/ 59 w 203"/>
                <a:gd name="T27" fmla="*/ 136 h 154"/>
                <a:gd name="T28" fmla="*/ 68 w 203"/>
                <a:gd name="T29" fmla="*/ 131 h 154"/>
                <a:gd name="T30" fmla="*/ 76 w 203"/>
                <a:gd name="T31" fmla="*/ 128 h 154"/>
                <a:gd name="T32" fmla="*/ 85 w 203"/>
                <a:gd name="T33" fmla="*/ 126 h 154"/>
                <a:gd name="T34" fmla="*/ 94 w 203"/>
                <a:gd name="T35" fmla="*/ 125 h 154"/>
                <a:gd name="T36" fmla="*/ 104 w 203"/>
                <a:gd name="T37" fmla="*/ 124 h 154"/>
                <a:gd name="T38" fmla="*/ 104 w 203"/>
                <a:gd name="T39" fmla="*/ 154 h 154"/>
                <a:gd name="T40" fmla="*/ 122 w 203"/>
                <a:gd name="T41" fmla="*/ 152 h 154"/>
                <a:gd name="T42" fmla="*/ 122 w 203"/>
                <a:gd name="T43" fmla="*/ 107 h 154"/>
                <a:gd name="T44" fmla="*/ 132 w 203"/>
                <a:gd name="T45" fmla="*/ 107 h 154"/>
                <a:gd name="T46" fmla="*/ 140 w 203"/>
                <a:gd name="T47" fmla="*/ 108 h 154"/>
                <a:gd name="T48" fmla="*/ 150 w 203"/>
                <a:gd name="T49" fmla="*/ 111 h 154"/>
                <a:gd name="T50" fmla="*/ 158 w 203"/>
                <a:gd name="T51" fmla="*/ 114 h 154"/>
                <a:gd name="T52" fmla="*/ 167 w 203"/>
                <a:gd name="T53" fmla="*/ 117 h 154"/>
                <a:gd name="T54" fmla="*/ 174 w 203"/>
                <a:gd name="T55" fmla="*/ 123 h 154"/>
                <a:gd name="T56" fmla="*/ 179 w 203"/>
                <a:gd name="T57" fmla="*/ 126 h 154"/>
                <a:gd name="T58" fmla="*/ 203 w 203"/>
                <a:gd name="T59" fmla="*/ 77 h 154"/>
                <a:gd name="T60" fmla="*/ 109 w 203"/>
                <a:gd name="T6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3" h="154">
                  <a:moveTo>
                    <a:pt x="109" y="0"/>
                  </a:moveTo>
                  <a:cubicBezTo>
                    <a:pt x="109" y="9"/>
                    <a:pt x="109" y="9"/>
                    <a:pt x="109" y="9"/>
                  </a:cubicBezTo>
                  <a:cubicBezTo>
                    <a:pt x="52" y="9"/>
                    <a:pt x="52" y="9"/>
                    <a:pt x="52" y="9"/>
                  </a:cubicBezTo>
                  <a:cubicBezTo>
                    <a:pt x="40" y="14"/>
                    <a:pt x="29" y="22"/>
                    <a:pt x="21" y="30"/>
                  </a:cubicBezTo>
                  <a:cubicBezTo>
                    <a:pt x="119" y="30"/>
                    <a:pt x="119" y="30"/>
                    <a:pt x="119" y="30"/>
                  </a:cubicBezTo>
                  <a:cubicBezTo>
                    <a:pt x="119" y="49"/>
                    <a:pt x="119" y="49"/>
                    <a:pt x="119" y="49"/>
                  </a:cubicBezTo>
                  <a:cubicBezTo>
                    <a:pt x="7" y="49"/>
                    <a:pt x="7" y="49"/>
                    <a:pt x="7" y="49"/>
                  </a:cubicBezTo>
                  <a:cubicBezTo>
                    <a:pt x="4" y="55"/>
                    <a:pt x="2" y="61"/>
                    <a:pt x="0" y="67"/>
                  </a:cubicBezTo>
                  <a:cubicBezTo>
                    <a:pt x="84" y="67"/>
                    <a:pt x="84" y="67"/>
                    <a:pt x="84" y="67"/>
                  </a:cubicBezTo>
                  <a:cubicBezTo>
                    <a:pt x="84" y="86"/>
                    <a:pt x="84" y="86"/>
                    <a:pt x="84" y="86"/>
                  </a:cubicBezTo>
                  <a:cubicBezTo>
                    <a:pt x="0" y="86"/>
                    <a:pt x="0" y="86"/>
                    <a:pt x="0" y="86"/>
                  </a:cubicBezTo>
                  <a:cubicBezTo>
                    <a:pt x="4" y="110"/>
                    <a:pt x="23" y="130"/>
                    <a:pt x="49" y="142"/>
                  </a:cubicBezTo>
                  <a:cubicBezTo>
                    <a:pt x="52" y="140"/>
                    <a:pt x="52" y="140"/>
                    <a:pt x="52" y="140"/>
                  </a:cubicBezTo>
                  <a:cubicBezTo>
                    <a:pt x="59" y="136"/>
                    <a:pt x="59" y="136"/>
                    <a:pt x="59" y="136"/>
                  </a:cubicBezTo>
                  <a:cubicBezTo>
                    <a:pt x="68" y="131"/>
                    <a:pt x="68" y="131"/>
                    <a:pt x="68" y="131"/>
                  </a:cubicBezTo>
                  <a:cubicBezTo>
                    <a:pt x="76" y="128"/>
                    <a:pt x="76" y="128"/>
                    <a:pt x="76" y="128"/>
                  </a:cubicBezTo>
                  <a:cubicBezTo>
                    <a:pt x="85" y="126"/>
                    <a:pt x="85" y="126"/>
                    <a:pt x="85" y="126"/>
                  </a:cubicBezTo>
                  <a:cubicBezTo>
                    <a:pt x="94" y="125"/>
                    <a:pt x="94" y="125"/>
                    <a:pt x="94" y="125"/>
                  </a:cubicBezTo>
                  <a:cubicBezTo>
                    <a:pt x="104" y="124"/>
                    <a:pt x="104" y="124"/>
                    <a:pt x="104" y="124"/>
                  </a:cubicBezTo>
                  <a:cubicBezTo>
                    <a:pt x="104" y="154"/>
                    <a:pt x="104" y="154"/>
                    <a:pt x="104" y="154"/>
                  </a:cubicBezTo>
                  <a:cubicBezTo>
                    <a:pt x="110" y="153"/>
                    <a:pt x="116" y="153"/>
                    <a:pt x="122" y="152"/>
                  </a:cubicBezTo>
                  <a:cubicBezTo>
                    <a:pt x="122" y="107"/>
                    <a:pt x="122" y="107"/>
                    <a:pt x="122" y="107"/>
                  </a:cubicBezTo>
                  <a:cubicBezTo>
                    <a:pt x="132" y="107"/>
                    <a:pt x="132" y="107"/>
                    <a:pt x="132" y="107"/>
                  </a:cubicBezTo>
                  <a:cubicBezTo>
                    <a:pt x="140" y="108"/>
                    <a:pt x="140" y="108"/>
                    <a:pt x="140" y="108"/>
                  </a:cubicBezTo>
                  <a:cubicBezTo>
                    <a:pt x="150" y="111"/>
                    <a:pt x="150" y="111"/>
                    <a:pt x="150" y="111"/>
                  </a:cubicBezTo>
                  <a:cubicBezTo>
                    <a:pt x="158" y="114"/>
                    <a:pt x="158" y="114"/>
                    <a:pt x="158" y="114"/>
                  </a:cubicBezTo>
                  <a:cubicBezTo>
                    <a:pt x="167" y="117"/>
                    <a:pt x="167" y="117"/>
                    <a:pt x="167" y="117"/>
                  </a:cubicBezTo>
                  <a:cubicBezTo>
                    <a:pt x="174" y="123"/>
                    <a:pt x="174" y="123"/>
                    <a:pt x="174" y="123"/>
                  </a:cubicBezTo>
                  <a:cubicBezTo>
                    <a:pt x="179" y="126"/>
                    <a:pt x="179" y="126"/>
                    <a:pt x="179" y="126"/>
                  </a:cubicBezTo>
                  <a:cubicBezTo>
                    <a:pt x="194" y="113"/>
                    <a:pt x="203" y="96"/>
                    <a:pt x="203" y="77"/>
                  </a:cubicBezTo>
                  <a:cubicBezTo>
                    <a:pt x="203" y="36"/>
                    <a:pt x="162" y="3"/>
                    <a:pt x="109" y="0"/>
                  </a:cubicBezTo>
                </a:path>
              </a:pathLst>
            </a:custGeom>
            <a:solidFill>
              <a:srgbClr val="D8F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6">
              <a:extLst>
                <a:ext uri="{FF2B5EF4-FFF2-40B4-BE49-F238E27FC236}">
                  <a16:creationId xmlns:a16="http://schemas.microsoft.com/office/drawing/2014/main" id="{870241B0-B0D5-44F9-94BE-690D4FBE1495}"/>
                </a:ext>
              </a:extLst>
            </p:cNvPr>
            <p:cNvSpPr>
              <a:spLocks/>
            </p:cNvSpPr>
            <p:nvPr/>
          </p:nvSpPr>
          <p:spPr bwMode="auto">
            <a:xfrm>
              <a:off x="6195" y="1568"/>
              <a:ext cx="207" cy="113"/>
            </a:xfrm>
            <a:custGeom>
              <a:avLst/>
              <a:gdLst>
                <a:gd name="T0" fmla="*/ 55 w 55"/>
                <a:gd name="T1" fmla="*/ 0 h 30"/>
                <a:gd name="T2" fmla="*/ 45 w 55"/>
                <a:gd name="T3" fmla="*/ 1 h 30"/>
                <a:gd name="T4" fmla="*/ 36 w 55"/>
                <a:gd name="T5" fmla="*/ 2 h 30"/>
                <a:gd name="T6" fmla="*/ 27 w 55"/>
                <a:gd name="T7" fmla="*/ 4 h 30"/>
                <a:gd name="T8" fmla="*/ 19 w 55"/>
                <a:gd name="T9" fmla="*/ 7 h 30"/>
                <a:gd name="T10" fmla="*/ 10 w 55"/>
                <a:gd name="T11" fmla="*/ 12 h 30"/>
                <a:gd name="T12" fmla="*/ 3 w 55"/>
                <a:gd name="T13" fmla="*/ 16 h 30"/>
                <a:gd name="T14" fmla="*/ 0 w 55"/>
                <a:gd name="T15" fmla="*/ 18 h 30"/>
                <a:gd name="T16" fmla="*/ 53 w 55"/>
                <a:gd name="T17" fmla="*/ 30 h 30"/>
                <a:gd name="T18" fmla="*/ 55 w 55"/>
                <a:gd name="T19" fmla="*/ 30 h 30"/>
                <a:gd name="T20" fmla="*/ 55 w 55"/>
                <a:gd name="T2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30">
                  <a:moveTo>
                    <a:pt x="55" y="0"/>
                  </a:moveTo>
                  <a:cubicBezTo>
                    <a:pt x="45" y="1"/>
                    <a:pt x="45" y="1"/>
                    <a:pt x="45" y="1"/>
                  </a:cubicBezTo>
                  <a:cubicBezTo>
                    <a:pt x="36" y="2"/>
                    <a:pt x="36" y="2"/>
                    <a:pt x="36" y="2"/>
                  </a:cubicBezTo>
                  <a:cubicBezTo>
                    <a:pt x="27" y="4"/>
                    <a:pt x="27" y="4"/>
                    <a:pt x="27" y="4"/>
                  </a:cubicBezTo>
                  <a:cubicBezTo>
                    <a:pt x="19" y="7"/>
                    <a:pt x="19" y="7"/>
                    <a:pt x="19" y="7"/>
                  </a:cubicBezTo>
                  <a:cubicBezTo>
                    <a:pt x="10" y="12"/>
                    <a:pt x="10" y="12"/>
                    <a:pt x="10" y="12"/>
                  </a:cubicBezTo>
                  <a:cubicBezTo>
                    <a:pt x="3" y="16"/>
                    <a:pt x="3" y="16"/>
                    <a:pt x="3" y="16"/>
                  </a:cubicBezTo>
                  <a:cubicBezTo>
                    <a:pt x="0" y="18"/>
                    <a:pt x="0" y="18"/>
                    <a:pt x="0" y="18"/>
                  </a:cubicBezTo>
                  <a:cubicBezTo>
                    <a:pt x="15" y="26"/>
                    <a:pt x="33" y="30"/>
                    <a:pt x="53" y="30"/>
                  </a:cubicBezTo>
                  <a:cubicBezTo>
                    <a:pt x="53" y="30"/>
                    <a:pt x="54" y="30"/>
                    <a:pt x="55" y="30"/>
                  </a:cubicBezTo>
                  <a:cubicBezTo>
                    <a:pt x="55" y="0"/>
                    <a:pt x="55" y="0"/>
                    <a:pt x="55" y="0"/>
                  </a:cubicBezTo>
                </a:path>
              </a:pathLst>
            </a:custGeom>
            <a:solidFill>
              <a:srgbClr val="CEC0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7">
              <a:extLst>
                <a:ext uri="{FF2B5EF4-FFF2-40B4-BE49-F238E27FC236}">
                  <a16:creationId xmlns:a16="http://schemas.microsoft.com/office/drawing/2014/main" id="{B85D198C-827F-448D-99FD-77E611A5C377}"/>
                </a:ext>
              </a:extLst>
            </p:cNvPr>
            <p:cNvSpPr>
              <a:spLocks/>
            </p:cNvSpPr>
            <p:nvPr/>
          </p:nvSpPr>
          <p:spPr bwMode="auto">
            <a:xfrm>
              <a:off x="6469" y="1504"/>
              <a:ext cx="214" cy="169"/>
            </a:xfrm>
            <a:custGeom>
              <a:avLst/>
              <a:gdLst>
                <a:gd name="T0" fmla="*/ 10 w 57"/>
                <a:gd name="T1" fmla="*/ 0 h 45"/>
                <a:gd name="T2" fmla="*/ 0 w 57"/>
                <a:gd name="T3" fmla="*/ 0 h 45"/>
                <a:gd name="T4" fmla="*/ 0 w 57"/>
                <a:gd name="T5" fmla="*/ 45 h 45"/>
                <a:gd name="T6" fmla="*/ 57 w 57"/>
                <a:gd name="T7" fmla="*/ 19 h 45"/>
                <a:gd name="T8" fmla="*/ 52 w 57"/>
                <a:gd name="T9" fmla="*/ 16 h 45"/>
                <a:gd name="T10" fmla="*/ 45 w 57"/>
                <a:gd name="T11" fmla="*/ 10 h 45"/>
                <a:gd name="T12" fmla="*/ 36 w 57"/>
                <a:gd name="T13" fmla="*/ 7 h 45"/>
                <a:gd name="T14" fmla="*/ 28 w 57"/>
                <a:gd name="T15" fmla="*/ 4 h 45"/>
                <a:gd name="T16" fmla="*/ 18 w 57"/>
                <a:gd name="T17" fmla="*/ 1 h 45"/>
                <a:gd name="T18" fmla="*/ 10 w 57"/>
                <a:gd name="T1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5">
                  <a:moveTo>
                    <a:pt x="10" y="0"/>
                  </a:moveTo>
                  <a:cubicBezTo>
                    <a:pt x="0" y="0"/>
                    <a:pt x="0" y="0"/>
                    <a:pt x="0" y="0"/>
                  </a:cubicBezTo>
                  <a:cubicBezTo>
                    <a:pt x="0" y="45"/>
                    <a:pt x="0" y="45"/>
                    <a:pt x="0" y="45"/>
                  </a:cubicBezTo>
                  <a:cubicBezTo>
                    <a:pt x="23" y="42"/>
                    <a:pt x="43" y="32"/>
                    <a:pt x="57" y="19"/>
                  </a:cubicBezTo>
                  <a:cubicBezTo>
                    <a:pt x="52" y="16"/>
                    <a:pt x="52" y="16"/>
                    <a:pt x="52" y="16"/>
                  </a:cubicBezTo>
                  <a:cubicBezTo>
                    <a:pt x="45" y="10"/>
                    <a:pt x="45" y="10"/>
                    <a:pt x="45" y="10"/>
                  </a:cubicBezTo>
                  <a:cubicBezTo>
                    <a:pt x="36" y="7"/>
                    <a:pt x="36" y="7"/>
                    <a:pt x="36" y="7"/>
                  </a:cubicBezTo>
                  <a:cubicBezTo>
                    <a:pt x="28" y="4"/>
                    <a:pt x="28" y="4"/>
                    <a:pt x="28" y="4"/>
                  </a:cubicBezTo>
                  <a:cubicBezTo>
                    <a:pt x="18" y="1"/>
                    <a:pt x="18" y="1"/>
                    <a:pt x="18" y="1"/>
                  </a:cubicBezTo>
                  <a:cubicBezTo>
                    <a:pt x="10" y="0"/>
                    <a:pt x="10" y="0"/>
                    <a:pt x="10" y="0"/>
                  </a:cubicBezTo>
                </a:path>
              </a:pathLst>
            </a:custGeom>
            <a:solidFill>
              <a:srgbClr val="D8D6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8">
              <a:extLst>
                <a:ext uri="{FF2B5EF4-FFF2-40B4-BE49-F238E27FC236}">
                  <a16:creationId xmlns:a16="http://schemas.microsoft.com/office/drawing/2014/main" id="{3374FB95-C381-4CE5-9B04-124E5440E527}"/>
                </a:ext>
              </a:extLst>
            </p:cNvPr>
            <p:cNvSpPr>
              <a:spLocks/>
            </p:cNvSpPr>
            <p:nvPr/>
          </p:nvSpPr>
          <p:spPr bwMode="auto">
            <a:xfrm>
              <a:off x="6206" y="1103"/>
              <a:ext cx="214" cy="34"/>
            </a:xfrm>
            <a:custGeom>
              <a:avLst/>
              <a:gdLst>
                <a:gd name="T0" fmla="*/ 50 w 57"/>
                <a:gd name="T1" fmla="*/ 0 h 9"/>
                <a:gd name="T2" fmla="*/ 0 w 57"/>
                <a:gd name="T3" fmla="*/ 9 h 9"/>
                <a:gd name="T4" fmla="*/ 57 w 57"/>
                <a:gd name="T5" fmla="*/ 9 h 9"/>
                <a:gd name="T6" fmla="*/ 57 w 57"/>
                <a:gd name="T7" fmla="*/ 0 h 9"/>
                <a:gd name="T8" fmla="*/ 50 w 57"/>
                <a:gd name="T9" fmla="*/ 0 h 9"/>
              </a:gdLst>
              <a:ahLst/>
              <a:cxnLst>
                <a:cxn ang="0">
                  <a:pos x="T0" y="T1"/>
                </a:cxn>
                <a:cxn ang="0">
                  <a:pos x="T2" y="T3"/>
                </a:cxn>
                <a:cxn ang="0">
                  <a:pos x="T4" y="T5"/>
                </a:cxn>
                <a:cxn ang="0">
                  <a:pos x="T6" y="T7"/>
                </a:cxn>
                <a:cxn ang="0">
                  <a:pos x="T8" y="T9"/>
                </a:cxn>
              </a:cxnLst>
              <a:rect l="0" t="0" r="r" b="b"/>
              <a:pathLst>
                <a:path w="57" h="9">
                  <a:moveTo>
                    <a:pt x="50" y="0"/>
                  </a:moveTo>
                  <a:cubicBezTo>
                    <a:pt x="32" y="0"/>
                    <a:pt x="15" y="3"/>
                    <a:pt x="0" y="9"/>
                  </a:cubicBezTo>
                  <a:cubicBezTo>
                    <a:pt x="57" y="9"/>
                    <a:pt x="57" y="9"/>
                    <a:pt x="57" y="9"/>
                  </a:cubicBezTo>
                  <a:cubicBezTo>
                    <a:pt x="57" y="0"/>
                    <a:pt x="57" y="0"/>
                    <a:pt x="57" y="0"/>
                  </a:cubicBezTo>
                  <a:cubicBezTo>
                    <a:pt x="54" y="0"/>
                    <a:pt x="52" y="0"/>
                    <a:pt x="50" y="0"/>
                  </a:cubicBezTo>
                </a:path>
              </a:pathLst>
            </a:custGeom>
            <a:solidFill>
              <a:srgbClr val="91C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9">
              <a:extLst>
                <a:ext uri="{FF2B5EF4-FFF2-40B4-BE49-F238E27FC236}">
                  <a16:creationId xmlns:a16="http://schemas.microsoft.com/office/drawing/2014/main" id="{9740E168-719E-4236-8946-8398E69E04D4}"/>
                </a:ext>
              </a:extLst>
            </p:cNvPr>
            <p:cNvSpPr>
              <a:spLocks/>
            </p:cNvSpPr>
            <p:nvPr/>
          </p:nvSpPr>
          <p:spPr bwMode="auto">
            <a:xfrm>
              <a:off x="6038" y="1216"/>
              <a:ext cx="420" cy="71"/>
            </a:xfrm>
            <a:custGeom>
              <a:avLst/>
              <a:gdLst>
                <a:gd name="T0" fmla="*/ 112 w 112"/>
                <a:gd name="T1" fmla="*/ 0 h 19"/>
                <a:gd name="T2" fmla="*/ 14 w 112"/>
                <a:gd name="T3" fmla="*/ 0 h 19"/>
                <a:gd name="T4" fmla="*/ 0 w 112"/>
                <a:gd name="T5" fmla="*/ 19 h 19"/>
                <a:gd name="T6" fmla="*/ 112 w 112"/>
                <a:gd name="T7" fmla="*/ 19 h 19"/>
                <a:gd name="T8" fmla="*/ 112 w 112"/>
                <a:gd name="T9" fmla="*/ 0 h 19"/>
              </a:gdLst>
              <a:ahLst/>
              <a:cxnLst>
                <a:cxn ang="0">
                  <a:pos x="T0" y="T1"/>
                </a:cxn>
                <a:cxn ang="0">
                  <a:pos x="T2" y="T3"/>
                </a:cxn>
                <a:cxn ang="0">
                  <a:pos x="T4" y="T5"/>
                </a:cxn>
                <a:cxn ang="0">
                  <a:pos x="T6" y="T7"/>
                </a:cxn>
                <a:cxn ang="0">
                  <a:pos x="T8" y="T9"/>
                </a:cxn>
              </a:cxnLst>
              <a:rect l="0" t="0" r="r" b="b"/>
              <a:pathLst>
                <a:path w="112" h="19">
                  <a:moveTo>
                    <a:pt x="112" y="0"/>
                  </a:moveTo>
                  <a:cubicBezTo>
                    <a:pt x="14" y="0"/>
                    <a:pt x="14" y="0"/>
                    <a:pt x="14" y="0"/>
                  </a:cubicBezTo>
                  <a:cubicBezTo>
                    <a:pt x="8" y="6"/>
                    <a:pt x="3" y="12"/>
                    <a:pt x="0" y="19"/>
                  </a:cubicBezTo>
                  <a:cubicBezTo>
                    <a:pt x="112" y="19"/>
                    <a:pt x="112" y="19"/>
                    <a:pt x="112" y="19"/>
                  </a:cubicBezTo>
                  <a:cubicBezTo>
                    <a:pt x="112" y="0"/>
                    <a:pt x="112" y="0"/>
                    <a:pt x="112" y="0"/>
                  </a:cubicBezTo>
                </a:path>
              </a:pathLst>
            </a:custGeom>
            <a:solidFill>
              <a:srgbClr val="91C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0">
              <a:extLst>
                <a:ext uri="{FF2B5EF4-FFF2-40B4-BE49-F238E27FC236}">
                  <a16:creationId xmlns:a16="http://schemas.microsoft.com/office/drawing/2014/main" id="{A1AE2003-9A3A-4427-A8A5-EF8C4F1357DD}"/>
                </a:ext>
              </a:extLst>
            </p:cNvPr>
            <p:cNvSpPr>
              <a:spLocks/>
            </p:cNvSpPr>
            <p:nvPr/>
          </p:nvSpPr>
          <p:spPr bwMode="auto">
            <a:xfrm>
              <a:off x="6011" y="1354"/>
              <a:ext cx="315" cy="72"/>
            </a:xfrm>
            <a:custGeom>
              <a:avLst/>
              <a:gdLst>
                <a:gd name="T0" fmla="*/ 84 w 84"/>
                <a:gd name="T1" fmla="*/ 0 h 19"/>
                <a:gd name="T2" fmla="*/ 0 w 84"/>
                <a:gd name="T3" fmla="*/ 0 h 19"/>
                <a:gd name="T4" fmla="*/ 0 w 84"/>
                <a:gd name="T5" fmla="*/ 10 h 19"/>
                <a:gd name="T6" fmla="*/ 0 w 84"/>
                <a:gd name="T7" fmla="*/ 19 h 19"/>
                <a:gd name="T8" fmla="*/ 84 w 84"/>
                <a:gd name="T9" fmla="*/ 19 h 19"/>
                <a:gd name="T10" fmla="*/ 84 w 84"/>
                <a:gd name="T11" fmla="*/ 0 h 19"/>
              </a:gdLst>
              <a:ahLst/>
              <a:cxnLst>
                <a:cxn ang="0">
                  <a:pos x="T0" y="T1"/>
                </a:cxn>
                <a:cxn ang="0">
                  <a:pos x="T2" y="T3"/>
                </a:cxn>
                <a:cxn ang="0">
                  <a:pos x="T4" y="T5"/>
                </a:cxn>
                <a:cxn ang="0">
                  <a:pos x="T6" y="T7"/>
                </a:cxn>
                <a:cxn ang="0">
                  <a:pos x="T8" y="T9"/>
                </a:cxn>
                <a:cxn ang="0">
                  <a:pos x="T10" y="T11"/>
                </a:cxn>
              </a:cxnLst>
              <a:rect l="0" t="0" r="r" b="b"/>
              <a:pathLst>
                <a:path w="84" h="19">
                  <a:moveTo>
                    <a:pt x="84" y="0"/>
                  </a:moveTo>
                  <a:cubicBezTo>
                    <a:pt x="0" y="0"/>
                    <a:pt x="0" y="0"/>
                    <a:pt x="0" y="0"/>
                  </a:cubicBezTo>
                  <a:cubicBezTo>
                    <a:pt x="0" y="3"/>
                    <a:pt x="0" y="7"/>
                    <a:pt x="0" y="10"/>
                  </a:cubicBezTo>
                  <a:cubicBezTo>
                    <a:pt x="0" y="13"/>
                    <a:pt x="0" y="16"/>
                    <a:pt x="0" y="19"/>
                  </a:cubicBezTo>
                  <a:cubicBezTo>
                    <a:pt x="84" y="19"/>
                    <a:pt x="84" y="19"/>
                    <a:pt x="84" y="19"/>
                  </a:cubicBezTo>
                  <a:cubicBezTo>
                    <a:pt x="84" y="0"/>
                    <a:pt x="84" y="0"/>
                    <a:pt x="84" y="0"/>
                  </a:cubicBezTo>
                </a:path>
              </a:pathLst>
            </a:custGeom>
            <a:solidFill>
              <a:srgbClr val="91C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61">
              <a:extLst>
                <a:ext uri="{FF2B5EF4-FFF2-40B4-BE49-F238E27FC236}">
                  <a16:creationId xmlns:a16="http://schemas.microsoft.com/office/drawing/2014/main" id="{0C689482-CEC1-44F4-9E8C-8443049E4957}"/>
                </a:ext>
              </a:extLst>
            </p:cNvPr>
            <p:cNvSpPr>
              <a:spLocks noEditPoints="1"/>
            </p:cNvSpPr>
            <p:nvPr/>
          </p:nvSpPr>
          <p:spPr bwMode="auto">
            <a:xfrm>
              <a:off x="4826" y="1069"/>
              <a:ext cx="2067" cy="713"/>
            </a:xfrm>
            <a:custGeom>
              <a:avLst/>
              <a:gdLst>
                <a:gd name="T0" fmla="*/ 546 w 551"/>
                <a:gd name="T1" fmla="*/ 12 h 190"/>
                <a:gd name="T2" fmla="*/ 408 w 551"/>
                <a:gd name="T3" fmla="*/ 9 h 190"/>
                <a:gd name="T4" fmla="*/ 278 w 551"/>
                <a:gd name="T5" fmla="*/ 40 h 190"/>
                <a:gd name="T6" fmla="*/ 144 w 551"/>
                <a:gd name="T7" fmla="*/ 17 h 190"/>
                <a:gd name="T8" fmla="*/ 6 w 551"/>
                <a:gd name="T9" fmla="*/ 28 h 190"/>
                <a:gd name="T10" fmla="*/ 5 w 551"/>
                <a:gd name="T11" fmla="*/ 46 h 190"/>
                <a:gd name="T12" fmla="*/ 22 w 551"/>
                <a:gd name="T13" fmla="*/ 66 h 190"/>
                <a:gd name="T14" fmla="*/ 40 w 551"/>
                <a:gd name="T15" fmla="*/ 109 h 190"/>
                <a:gd name="T16" fmla="*/ 170 w 551"/>
                <a:gd name="T17" fmla="*/ 177 h 190"/>
                <a:gd name="T18" fmla="*/ 258 w 551"/>
                <a:gd name="T19" fmla="*/ 79 h 190"/>
                <a:gd name="T20" fmla="*/ 278 w 551"/>
                <a:gd name="T21" fmla="*/ 67 h 190"/>
                <a:gd name="T22" fmla="*/ 299 w 551"/>
                <a:gd name="T23" fmla="*/ 78 h 190"/>
                <a:gd name="T24" fmla="*/ 393 w 551"/>
                <a:gd name="T25" fmla="*/ 170 h 190"/>
                <a:gd name="T26" fmla="*/ 516 w 551"/>
                <a:gd name="T27" fmla="*/ 94 h 190"/>
                <a:gd name="T28" fmla="*/ 532 w 551"/>
                <a:gd name="T29" fmla="*/ 50 h 190"/>
                <a:gd name="T30" fmla="*/ 547 w 551"/>
                <a:gd name="T31" fmla="*/ 29 h 190"/>
                <a:gd name="T32" fmla="*/ 546 w 551"/>
                <a:gd name="T33" fmla="*/ 12 h 190"/>
                <a:gd name="T34" fmla="*/ 213 w 551"/>
                <a:gd name="T35" fmla="*/ 137 h 190"/>
                <a:gd name="T36" fmla="*/ 116 w 551"/>
                <a:gd name="T37" fmla="*/ 167 h 190"/>
                <a:gd name="T38" fmla="*/ 51 w 551"/>
                <a:gd name="T39" fmla="*/ 73 h 190"/>
                <a:gd name="T40" fmla="*/ 147 w 551"/>
                <a:gd name="T41" fmla="*/ 30 h 190"/>
                <a:gd name="T42" fmla="*/ 217 w 551"/>
                <a:gd name="T43" fmla="*/ 45 h 190"/>
                <a:gd name="T44" fmla="*/ 213 w 551"/>
                <a:gd name="T45" fmla="*/ 137 h 190"/>
                <a:gd name="T46" fmla="*/ 445 w 551"/>
                <a:gd name="T47" fmla="*/ 157 h 190"/>
                <a:gd name="T48" fmla="*/ 348 w 551"/>
                <a:gd name="T49" fmla="*/ 133 h 190"/>
                <a:gd name="T50" fmla="*/ 338 w 551"/>
                <a:gd name="T51" fmla="*/ 42 h 190"/>
                <a:gd name="T52" fmla="*/ 406 w 551"/>
                <a:gd name="T53" fmla="*/ 22 h 190"/>
                <a:gd name="T54" fmla="*/ 503 w 551"/>
                <a:gd name="T55" fmla="*/ 59 h 190"/>
                <a:gd name="T56" fmla="*/ 445 w 551"/>
                <a:gd name="T57" fmla="*/ 157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1" h="190">
                  <a:moveTo>
                    <a:pt x="546" y="12"/>
                  </a:moveTo>
                  <a:cubicBezTo>
                    <a:pt x="546" y="12"/>
                    <a:pt x="466" y="0"/>
                    <a:pt x="408" y="9"/>
                  </a:cubicBezTo>
                  <a:cubicBezTo>
                    <a:pt x="350" y="17"/>
                    <a:pt x="305" y="39"/>
                    <a:pt x="278" y="40"/>
                  </a:cubicBezTo>
                  <a:cubicBezTo>
                    <a:pt x="251" y="41"/>
                    <a:pt x="203" y="22"/>
                    <a:pt x="144" y="17"/>
                  </a:cubicBezTo>
                  <a:cubicBezTo>
                    <a:pt x="85" y="11"/>
                    <a:pt x="6" y="28"/>
                    <a:pt x="6" y="28"/>
                  </a:cubicBezTo>
                  <a:cubicBezTo>
                    <a:pt x="0" y="29"/>
                    <a:pt x="3" y="35"/>
                    <a:pt x="5" y="46"/>
                  </a:cubicBezTo>
                  <a:cubicBezTo>
                    <a:pt x="8" y="56"/>
                    <a:pt x="8" y="59"/>
                    <a:pt x="22" y="66"/>
                  </a:cubicBezTo>
                  <a:cubicBezTo>
                    <a:pt x="35" y="72"/>
                    <a:pt x="40" y="109"/>
                    <a:pt x="40" y="109"/>
                  </a:cubicBezTo>
                  <a:cubicBezTo>
                    <a:pt x="53" y="173"/>
                    <a:pt x="103" y="190"/>
                    <a:pt x="170" y="177"/>
                  </a:cubicBezTo>
                  <a:cubicBezTo>
                    <a:pt x="237" y="164"/>
                    <a:pt x="252" y="91"/>
                    <a:pt x="258" y="79"/>
                  </a:cubicBezTo>
                  <a:cubicBezTo>
                    <a:pt x="265" y="67"/>
                    <a:pt x="278" y="67"/>
                    <a:pt x="278" y="67"/>
                  </a:cubicBezTo>
                  <a:cubicBezTo>
                    <a:pt x="278" y="67"/>
                    <a:pt x="292" y="66"/>
                    <a:pt x="299" y="78"/>
                  </a:cubicBezTo>
                  <a:cubicBezTo>
                    <a:pt x="307" y="89"/>
                    <a:pt x="325" y="161"/>
                    <a:pt x="393" y="170"/>
                  </a:cubicBezTo>
                  <a:cubicBezTo>
                    <a:pt x="459" y="179"/>
                    <a:pt x="507" y="159"/>
                    <a:pt x="516" y="94"/>
                  </a:cubicBezTo>
                  <a:cubicBezTo>
                    <a:pt x="516" y="94"/>
                    <a:pt x="518" y="58"/>
                    <a:pt x="532" y="50"/>
                  </a:cubicBezTo>
                  <a:cubicBezTo>
                    <a:pt x="545" y="43"/>
                    <a:pt x="545" y="39"/>
                    <a:pt x="547" y="29"/>
                  </a:cubicBezTo>
                  <a:cubicBezTo>
                    <a:pt x="549" y="18"/>
                    <a:pt x="551" y="12"/>
                    <a:pt x="546" y="12"/>
                  </a:cubicBezTo>
                  <a:close/>
                  <a:moveTo>
                    <a:pt x="213" y="137"/>
                  </a:moveTo>
                  <a:cubicBezTo>
                    <a:pt x="194" y="162"/>
                    <a:pt x="162" y="172"/>
                    <a:pt x="116" y="167"/>
                  </a:cubicBezTo>
                  <a:cubicBezTo>
                    <a:pt x="71" y="161"/>
                    <a:pt x="53" y="128"/>
                    <a:pt x="51" y="73"/>
                  </a:cubicBezTo>
                  <a:cubicBezTo>
                    <a:pt x="49" y="18"/>
                    <a:pt x="147" y="30"/>
                    <a:pt x="147" y="30"/>
                  </a:cubicBezTo>
                  <a:cubicBezTo>
                    <a:pt x="185" y="35"/>
                    <a:pt x="185" y="35"/>
                    <a:pt x="217" y="45"/>
                  </a:cubicBezTo>
                  <a:cubicBezTo>
                    <a:pt x="249" y="56"/>
                    <a:pt x="230" y="113"/>
                    <a:pt x="213" y="137"/>
                  </a:cubicBezTo>
                  <a:close/>
                  <a:moveTo>
                    <a:pt x="445" y="157"/>
                  </a:moveTo>
                  <a:cubicBezTo>
                    <a:pt x="400" y="165"/>
                    <a:pt x="367" y="156"/>
                    <a:pt x="348" y="133"/>
                  </a:cubicBezTo>
                  <a:cubicBezTo>
                    <a:pt x="329" y="110"/>
                    <a:pt x="307" y="54"/>
                    <a:pt x="338" y="42"/>
                  </a:cubicBezTo>
                  <a:cubicBezTo>
                    <a:pt x="368" y="29"/>
                    <a:pt x="368" y="29"/>
                    <a:pt x="406" y="22"/>
                  </a:cubicBezTo>
                  <a:cubicBezTo>
                    <a:pt x="406" y="22"/>
                    <a:pt x="502" y="3"/>
                    <a:pt x="503" y="59"/>
                  </a:cubicBezTo>
                  <a:cubicBezTo>
                    <a:pt x="506" y="115"/>
                    <a:pt x="490" y="148"/>
                    <a:pt x="445" y="15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2">
              <a:extLst>
                <a:ext uri="{FF2B5EF4-FFF2-40B4-BE49-F238E27FC236}">
                  <a16:creationId xmlns:a16="http://schemas.microsoft.com/office/drawing/2014/main" id="{38CA84A0-826A-4648-92EC-4BAD6801DC28}"/>
                </a:ext>
              </a:extLst>
            </p:cNvPr>
            <p:cNvSpPr>
              <a:spLocks/>
            </p:cNvSpPr>
            <p:nvPr/>
          </p:nvSpPr>
          <p:spPr bwMode="auto">
            <a:xfrm>
              <a:off x="4875" y="1197"/>
              <a:ext cx="63" cy="60"/>
            </a:xfrm>
            <a:custGeom>
              <a:avLst/>
              <a:gdLst>
                <a:gd name="T0" fmla="*/ 17 w 17"/>
                <a:gd name="T1" fmla="*/ 8 h 16"/>
                <a:gd name="T2" fmla="*/ 9 w 17"/>
                <a:gd name="T3" fmla="*/ 16 h 16"/>
                <a:gd name="T4" fmla="*/ 1 w 17"/>
                <a:gd name="T5" fmla="*/ 9 h 16"/>
                <a:gd name="T6" fmla="*/ 9 w 17"/>
                <a:gd name="T7" fmla="*/ 0 h 16"/>
                <a:gd name="T8" fmla="*/ 17 w 17"/>
                <a:gd name="T9" fmla="*/ 8 h 16"/>
              </a:gdLst>
              <a:ahLst/>
              <a:cxnLst>
                <a:cxn ang="0">
                  <a:pos x="T0" y="T1"/>
                </a:cxn>
                <a:cxn ang="0">
                  <a:pos x="T2" y="T3"/>
                </a:cxn>
                <a:cxn ang="0">
                  <a:pos x="T4" y="T5"/>
                </a:cxn>
                <a:cxn ang="0">
                  <a:pos x="T6" y="T7"/>
                </a:cxn>
                <a:cxn ang="0">
                  <a:pos x="T8" y="T9"/>
                </a:cxn>
              </a:cxnLst>
              <a:rect l="0" t="0" r="r" b="b"/>
              <a:pathLst>
                <a:path w="17" h="16">
                  <a:moveTo>
                    <a:pt x="17" y="8"/>
                  </a:moveTo>
                  <a:cubicBezTo>
                    <a:pt x="17" y="13"/>
                    <a:pt x="14" y="16"/>
                    <a:pt x="9" y="16"/>
                  </a:cubicBezTo>
                  <a:cubicBezTo>
                    <a:pt x="5" y="16"/>
                    <a:pt x="1" y="13"/>
                    <a:pt x="1" y="9"/>
                  </a:cubicBezTo>
                  <a:cubicBezTo>
                    <a:pt x="0" y="4"/>
                    <a:pt x="4" y="1"/>
                    <a:pt x="9" y="0"/>
                  </a:cubicBezTo>
                  <a:cubicBezTo>
                    <a:pt x="13" y="0"/>
                    <a:pt x="17" y="4"/>
                    <a:pt x="17"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63">
              <a:extLst>
                <a:ext uri="{FF2B5EF4-FFF2-40B4-BE49-F238E27FC236}">
                  <a16:creationId xmlns:a16="http://schemas.microsoft.com/office/drawing/2014/main" id="{0D89500B-02B1-4408-BB41-5D75625EBD14}"/>
                </a:ext>
              </a:extLst>
            </p:cNvPr>
            <p:cNvSpPr>
              <a:spLocks/>
            </p:cNvSpPr>
            <p:nvPr/>
          </p:nvSpPr>
          <p:spPr bwMode="auto">
            <a:xfrm>
              <a:off x="6784" y="1137"/>
              <a:ext cx="60" cy="64"/>
            </a:xfrm>
            <a:custGeom>
              <a:avLst/>
              <a:gdLst>
                <a:gd name="T0" fmla="*/ 16 w 16"/>
                <a:gd name="T1" fmla="*/ 8 h 17"/>
                <a:gd name="T2" fmla="*/ 8 w 16"/>
                <a:gd name="T3" fmla="*/ 17 h 17"/>
                <a:gd name="T4" fmla="*/ 0 w 16"/>
                <a:gd name="T5" fmla="*/ 9 h 17"/>
                <a:gd name="T6" fmla="*/ 8 w 16"/>
                <a:gd name="T7" fmla="*/ 0 h 17"/>
                <a:gd name="T8" fmla="*/ 16 w 16"/>
                <a:gd name="T9" fmla="*/ 8 h 17"/>
              </a:gdLst>
              <a:ahLst/>
              <a:cxnLst>
                <a:cxn ang="0">
                  <a:pos x="T0" y="T1"/>
                </a:cxn>
                <a:cxn ang="0">
                  <a:pos x="T2" y="T3"/>
                </a:cxn>
                <a:cxn ang="0">
                  <a:pos x="T4" y="T5"/>
                </a:cxn>
                <a:cxn ang="0">
                  <a:pos x="T6" y="T7"/>
                </a:cxn>
                <a:cxn ang="0">
                  <a:pos x="T8" y="T9"/>
                </a:cxn>
              </a:cxnLst>
              <a:rect l="0" t="0" r="r" b="b"/>
              <a:pathLst>
                <a:path w="16" h="17">
                  <a:moveTo>
                    <a:pt x="16" y="8"/>
                  </a:moveTo>
                  <a:cubicBezTo>
                    <a:pt x="16" y="13"/>
                    <a:pt x="13" y="17"/>
                    <a:pt x="8" y="17"/>
                  </a:cubicBezTo>
                  <a:cubicBezTo>
                    <a:pt x="4" y="17"/>
                    <a:pt x="0" y="13"/>
                    <a:pt x="0" y="9"/>
                  </a:cubicBezTo>
                  <a:cubicBezTo>
                    <a:pt x="0" y="4"/>
                    <a:pt x="3" y="1"/>
                    <a:pt x="8" y="0"/>
                  </a:cubicBezTo>
                  <a:cubicBezTo>
                    <a:pt x="12" y="1"/>
                    <a:pt x="16" y="4"/>
                    <a:pt x="16"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4">
              <a:extLst>
                <a:ext uri="{FF2B5EF4-FFF2-40B4-BE49-F238E27FC236}">
                  <a16:creationId xmlns:a16="http://schemas.microsoft.com/office/drawing/2014/main" id="{6542447B-B538-451D-BF32-0E7B0044E446}"/>
                </a:ext>
              </a:extLst>
            </p:cNvPr>
            <p:cNvSpPr>
              <a:spLocks/>
            </p:cNvSpPr>
            <p:nvPr/>
          </p:nvSpPr>
          <p:spPr bwMode="auto">
            <a:xfrm>
              <a:off x="6120" y="2536"/>
              <a:ext cx="240" cy="244"/>
            </a:xfrm>
            <a:custGeom>
              <a:avLst/>
              <a:gdLst>
                <a:gd name="T0" fmla="*/ 0 w 240"/>
                <a:gd name="T1" fmla="*/ 0 h 244"/>
                <a:gd name="T2" fmla="*/ 0 w 240"/>
                <a:gd name="T3" fmla="*/ 244 h 244"/>
                <a:gd name="T4" fmla="*/ 240 w 240"/>
                <a:gd name="T5" fmla="*/ 244 h 244"/>
                <a:gd name="T6" fmla="*/ 240 w 240"/>
                <a:gd name="T7" fmla="*/ 240 h 244"/>
                <a:gd name="T8" fmla="*/ 236 w 240"/>
                <a:gd name="T9" fmla="*/ 214 h 244"/>
                <a:gd name="T10" fmla="*/ 233 w 240"/>
                <a:gd name="T11" fmla="*/ 191 h 244"/>
                <a:gd name="T12" fmla="*/ 229 w 240"/>
                <a:gd name="T13" fmla="*/ 169 h 244"/>
                <a:gd name="T14" fmla="*/ 221 w 240"/>
                <a:gd name="T15" fmla="*/ 146 h 244"/>
                <a:gd name="T16" fmla="*/ 210 w 240"/>
                <a:gd name="T17" fmla="*/ 124 h 244"/>
                <a:gd name="T18" fmla="*/ 199 w 240"/>
                <a:gd name="T19" fmla="*/ 105 h 244"/>
                <a:gd name="T20" fmla="*/ 188 w 240"/>
                <a:gd name="T21" fmla="*/ 86 h 244"/>
                <a:gd name="T22" fmla="*/ 169 w 240"/>
                <a:gd name="T23" fmla="*/ 68 h 244"/>
                <a:gd name="T24" fmla="*/ 154 w 240"/>
                <a:gd name="T25" fmla="*/ 56 h 244"/>
                <a:gd name="T26" fmla="*/ 135 w 240"/>
                <a:gd name="T27" fmla="*/ 41 h 244"/>
                <a:gd name="T28" fmla="*/ 116 w 240"/>
                <a:gd name="T29" fmla="*/ 26 h 244"/>
                <a:gd name="T30" fmla="*/ 94 w 240"/>
                <a:gd name="T31" fmla="*/ 19 h 244"/>
                <a:gd name="T32" fmla="*/ 71 w 240"/>
                <a:gd name="T33" fmla="*/ 11 h 244"/>
                <a:gd name="T34" fmla="*/ 49 w 240"/>
                <a:gd name="T35" fmla="*/ 4 h 244"/>
                <a:gd name="T36" fmla="*/ 26 w 240"/>
                <a:gd name="T37" fmla="*/ 0 h 244"/>
                <a:gd name="T38" fmla="*/ 0 w 240"/>
                <a:gd name="T39"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0" h="244">
                  <a:moveTo>
                    <a:pt x="0" y="0"/>
                  </a:moveTo>
                  <a:lnTo>
                    <a:pt x="0" y="244"/>
                  </a:lnTo>
                  <a:lnTo>
                    <a:pt x="240" y="244"/>
                  </a:lnTo>
                  <a:lnTo>
                    <a:pt x="240" y="240"/>
                  </a:lnTo>
                  <a:lnTo>
                    <a:pt x="236" y="214"/>
                  </a:lnTo>
                  <a:lnTo>
                    <a:pt x="233" y="191"/>
                  </a:lnTo>
                  <a:lnTo>
                    <a:pt x="229" y="169"/>
                  </a:lnTo>
                  <a:lnTo>
                    <a:pt x="221" y="146"/>
                  </a:lnTo>
                  <a:lnTo>
                    <a:pt x="210" y="124"/>
                  </a:lnTo>
                  <a:lnTo>
                    <a:pt x="199" y="105"/>
                  </a:lnTo>
                  <a:lnTo>
                    <a:pt x="188" y="86"/>
                  </a:lnTo>
                  <a:lnTo>
                    <a:pt x="169" y="68"/>
                  </a:lnTo>
                  <a:lnTo>
                    <a:pt x="154" y="56"/>
                  </a:lnTo>
                  <a:lnTo>
                    <a:pt x="135" y="41"/>
                  </a:lnTo>
                  <a:lnTo>
                    <a:pt x="116" y="26"/>
                  </a:lnTo>
                  <a:lnTo>
                    <a:pt x="94" y="19"/>
                  </a:lnTo>
                  <a:lnTo>
                    <a:pt x="71" y="11"/>
                  </a:lnTo>
                  <a:lnTo>
                    <a:pt x="49" y="4"/>
                  </a:lnTo>
                  <a:lnTo>
                    <a:pt x="26"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5">
              <a:extLst>
                <a:ext uri="{FF2B5EF4-FFF2-40B4-BE49-F238E27FC236}">
                  <a16:creationId xmlns:a16="http://schemas.microsoft.com/office/drawing/2014/main" id="{9EB57E7A-9C82-488F-9033-9E60127DBD1C}"/>
                </a:ext>
              </a:extLst>
            </p:cNvPr>
            <p:cNvSpPr>
              <a:spLocks/>
            </p:cNvSpPr>
            <p:nvPr/>
          </p:nvSpPr>
          <p:spPr bwMode="auto">
            <a:xfrm>
              <a:off x="6120" y="2536"/>
              <a:ext cx="240" cy="244"/>
            </a:xfrm>
            <a:custGeom>
              <a:avLst/>
              <a:gdLst>
                <a:gd name="T0" fmla="*/ 0 w 240"/>
                <a:gd name="T1" fmla="*/ 0 h 244"/>
                <a:gd name="T2" fmla="*/ 0 w 240"/>
                <a:gd name="T3" fmla="*/ 244 h 244"/>
                <a:gd name="T4" fmla="*/ 240 w 240"/>
                <a:gd name="T5" fmla="*/ 244 h 244"/>
                <a:gd name="T6" fmla="*/ 240 w 240"/>
                <a:gd name="T7" fmla="*/ 240 h 244"/>
                <a:gd name="T8" fmla="*/ 236 w 240"/>
                <a:gd name="T9" fmla="*/ 214 h 244"/>
                <a:gd name="T10" fmla="*/ 233 w 240"/>
                <a:gd name="T11" fmla="*/ 191 h 244"/>
                <a:gd name="T12" fmla="*/ 229 w 240"/>
                <a:gd name="T13" fmla="*/ 169 h 244"/>
                <a:gd name="T14" fmla="*/ 221 w 240"/>
                <a:gd name="T15" fmla="*/ 146 h 244"/>
                <a:gd name="T16" fmla="*/ 210 w 240"/>
                <a:gd name="T17" fmla="*/ 124 h 244"/>
                <a:gd name="T18" fmla="*/ 199 w 240"/>
                <a:gd name="T19" fmla="*/ 105 h 244"/>
                <a:gd name="T20" fmla="*/ 188 w 240"/>
                <a:gd name="T21" fmla="*/ 86 h 244"/>
                <a:gd name="T22" fmla="*/ 169 w 240"/>
                <a:gd name="T23" fmla="*/ 68 h 244"/>
                <a:gd name="T24" fmla="*/ 154 w 240"/>
                <a:gd name="T25" fmla="*/ 56 h 244"/>
                <a:gd name="T26" fmla="*/ 135 w 240"/>
                <a:gd name="T27" fmla="*/ 41 h 244"/>
                <a:gd name="T28" fmla="*/ 116 w 240"/>
                <a:gd name="T29" fmla="*/ 26 h 244"/>
                <a:gd name="T30" fmla="*/ 94 w 240"/>
                <a:gd name="T31" fmla="*/ 19 h 244"/>
                <a:gd name="T32" fmla="*/ 71 w 240"/>
                <a:gd name="T33" fmla="*/ 11 h 244"/>
                <a:gd name="T34" fmla="*/ 49 w 240"/>
                <a:gd name="T35" fmla="*/ 4 h 244"/>
                <a:gd name="T36" fmla="*/ 26 w 240"/>
                <a:gd name="T37" fmla="*/ 0 h 244"/>
                <a:gd name="T38" fmla="*/ 0 w 240"/>
                <a:gd name="T39"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0" h="244">
                  <a:moveTo>
                    <a:pt x="0" y="0"/>
                  </a:moveTo>
                  <a:lnTo>
                    <a:pt x="0" y="244"/>
                  </a:lnTo>
                  <a:lnTo>
                    <a:pt x="240" y="244"/>
                  </a:lnTo>
                  <a:lnTo>
                    <a:pt x="240" y="240"/>
                  </a:lnTo>
                  <a:lnTo>
                    <a:pt x="236" y="214"/>
                  </a:lnTo>
                  <a:lnTo>
                    <a:pt x="233" y="191"/>
                  </a:lnTo>
                  <a:lnTo>
                    <a:pt x="229" y="169"/>
                  </a:lnTo>
                  <a:lnTo>
                    <a:pt x="221" y="146"/>
                  </a:lnTo>
                  <a:lnTo>
                    <a:pt x="210" y="124"/>
                  </a:lnTo>
                  <a:lnTo>
                    <a:pt x="199" y="105"/>
                  </a:lnTo>
                  <a:lnTo>
                    <a:pt x="188" y="86"/>
                  </a:lnTo>
                  <a:lnTo>
                    <a:pt x="169" y="68"/>
                  </a:lnTo>
                  <a:lnTo>
                    <a:pt x="154" y="56"/>
                  </a:lnTo>
                  <a:lnTo>
                    <a:pt x="135" y="41"/>
                  </a:lnTo>
                  <a:lnTo>
                    <a:pt x="116" y="26"/>
                  </a:lnTo>
                  <a:lnTo>
                    <a:pt x="94" y="19"/>
                  </a:lnTo>
                  <a:lnTo>
                    <a:pt x="71" y="11"/>
                  </a:lnTo>
                  <a:lnTo>
                    <a:pt x="49" y="4"/>
                  </a:lnTo>
                  <a:lnTo>
                    <a:pt x="2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563266699"/>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name="HIDDEN - Slide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461963"/>
          </a:xfrm>
        </p:spPr>
        <p:txBody>
          <a:bodyPr/>
          <a:lstStyle/>
          <a:p>
            <a:r>
              <a:rPr lang="en-US">
                <a:noFill/>
              </a:rPr>
              <a:t>Microsoft</a:t>
            </a:r>
          </a:p>
        </p:txBody>
      </p:sp>
    </p:spTree>
    <p:custDataLst>
      <p:tags r:id="rId1"/>
    </p:custDataLst>
    <p:extLst>
      <p:ext uri="{BB962C8B-B14F-4D97-AF65-F5344CB8AC3E}">
        <p14:creationId xmlns:p14="http://schemas.microsoft.com/office/powerpoint/2010/main" val="2260953147"/>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79B42-69EC-4737-A1D3-6170002B2FA4}"/>
              </a:ext>
            </a:extLst>
          </p:cNvPr>
          <p:cNvSpPr>
            <a:spLocks noGrp="1"/>
          </p:cNvSpPr>
          <p:nvPr>
            <p:ph type="title" idx="4294967295"/>
          </p:nvPr>
        </p:nvSpPr>
        <p:spPr>
          <a:xfrm>
            <a:off x="536575" y="288925"/>
            <a:ext cx="11655425" cy="461963"/>
          </a:xfrm>
        </p:spPr>
        <p:txBody>
          <a:bodyPr/>
          <a:lstStyle/>
          <a:p>
            <a:r>
              <a:rPr lang="en-US">
                <a:noFill/>
              </a:rPr>
              <a:t>Disclaimer</a:t>
            </a:r>
          </a:p>
        </p:txBody>
      </p:sp>
    </p:spTree>
    <p:custDataLst>
      <p:tags r:id="rId1"/>
    </p:custDataLst>
    <p:extLst>
      <p:ext uri="{BB962C8B-B14F-4D97-AF65-F5344CB8AC3E}">
        <p14:creationId xmlns:p14="http://schemas.microsoft.com/office/powerpoint/2010/main" val="733011563"/>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result for mvp reconnect logo">
            <a:extLst>
              <a:ext uri="{FF2B5EF4-FFF2-40B4-BE49-F238E27FC236}">
                <a16:creationId xmlns:a16="http://schemas.microsoft.com/office/drawing/2014/main" id="{5F4A8CD3-D5A8-4143-9E3A-4F0707267DA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9524" y="5549386"/>
            <a:ext cx="2121060" cy="70575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6175565F-9629-43D4-B37E-491F838227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92377" y="5187668"/>
            <a:ext cx="1576068" cy="1576068"/>
          </a:xfrm>
          <a:prstGeom prst="rect">
            <a:avLst/>
          </a:prstGeom>
        </p:spPr>
      </p:pic>
      <p:sp>
        <p:nvSpPr>
          <p:cNvPr id="14" name="TextBox 13">
            <a:extLst>
              <a:ext uri="{FF2B5EF4-FFF2-40B4-BE49-F238E27FC236}">
                <a16:creationId xmlns:a16="http://schemas.microsoft.com/office/drawing/2014/main" id="{58F322D1-571A-45D1-A3A3-EE3DD7FF3C6A}"/>
              </a:ext>
            </a:extLst>
          </p:cNvPr>
          <p:cNvSpPr txBox="1"/>
          <p:nvPr/>
        </p:nvSpPr>
        <p:spPr>
          <a:xfrm>
            <a:off x="3695811" y="1599016"/>
            <a:ext cx="7974384" cy="31700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ohn Deardurf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ustomer Engineer (Global Technical Te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ertified Trainer (Regional Le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witter: @SQLM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itHub: github.com\SQLMCT</a:t>
            </a:r>
          </a:p>
        </p:txBody>
      </p:sp>
      <p:pic>
        <p:nvPicPr>
          <p:cNvPr id="3" name="Picture 2" descr="A person wearing glasses and looking at the camera&#10;&#10;Description automatically generated">
            <a:extLst>
              <a:ext uri="{FF2B5EF4-FFF2-40B4-BE49-F238E27FC236}">
                <a16:creationId xmlns:a16="http://schemas.microsoft.com/office/drawing/2014/main" id="{64A39F5A-E418-45B8-9669-C872A8582FC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3231" y="1716041"/>
            <a:ext cx="2936051" cy="2936051"/>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2" name="Picture 2">
            <a:extLst>
              <a:ext uri="{FF2B5EF4-FFF2-40B4-BE49-F238E27FC236}">
                <a16:creationId xmlns:a16="http://schemas.microsoft.com/office/drawing/2014/main" id="{D060B391-0B37-4C2B-9530-1749C6AD677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08991" y="5179325"/>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1E5684DD-3E09-4869-BDAD-AF76AA4219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442219" y="5187668"/>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49E05C38-6E25-47B1-A21C-A0665965F60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25605" y="5187668"/>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567D70A4-BBFF-4866-A1EC-54FCAA0D07D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31130" y="5166444"/>
            <a:ext cx="1620701" cy="1620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41579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C7F33-C8DC-4819-B8FA-9E886AB1CA90}"/>
              </a:ext>
            </a:extLst>
          </p:cNvPr>
          <p:cNvSpPr>
            <a:spLocks noGrp="1"/>
          </p:cNvSpPr>
          <p:nvPr>
            <p:ph type="title"/>
          </p:nvPr>
        </p:nvSpPr>
        <p:spPr/>
        <p:txBody>
          <a:bodyPr/>
          <a:lstStyle/>
          <a:p>
            <a:r>
              <a:rPr lang="en-US"/>
              <a:t>Facilities</a:t>
            </a:r>
          </a:p>
        </p:txBody>
      </p:sp>
      <p:graphicFrame>
        <p:nvGraphicFramePr>
          <p:cNvPr id="4" name="Content Placeholder 3" descr="Class hours&#10;Building hours&#10;Parking&#10;Restrooms&#10;Meals&#10;Phones&#10;Messages&#10;Smoking&#10;Recycling">
            <a:extLst>
              <a:ext uri="{FF2B5EF4-FFF2-40B4-BE49-F238E27FC236}">
                <a16:creationId xmlns:a16="http://schemas.microsoft.com/office/drawing/2014/main" id="{CCFE5CEB-BFD9-48F9-A321-7809A0C5467A}"/>
              </a:ext>
              <a:ext uri="{C183D7F6-B498-43B3-948B-1728B52AA6E4}">
                <adec:decorative xmlns:adec="http://schemas.microsoft.com/office/drawing/2017/decorative" val="0"/>
              </a:ext>
            </a:extLst>
          </p:cNvPr>
          <p:cNvGraphicFramePr>
            <a:graphicFrameLocks noGrp="1"/>
          </p:cNvGraphicFramePr>
          <p:nvPr>
            <p:ph sz="quarter" idx="13"/>
            <p:extLst>
              <p:ext uri="{D42A27DB-BD31-4B8C-83A1-F6EECF244321}">
                <p14:modId xmlns:p14="http://schemas.microsoft.com/office/powerpoint/2010/main" val="1573282574"/>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533061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name="HIDDEN - Slide19">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B875113-F2A1-4679-8582-33DC7319B49B}"/>
              </a:ext>
              <a:ext uri="{C183D7F6-B498-43B3-948B-1728B52AA6E4}">
                <adec:decorative xmlns:adec="http://schemas.microsoft.com/office/drawing/2017/decorative" val="1"/>
              </a:ext>
            </a:extLst>
          </p:cNvPr>
          <p:cNvGrpSpPr/>
          <p:nvPr/>
        </p:nvGrpSpPr>
        <p:grpSpPr>
          <a:xfrm rot="16200000">
            <a:off x="9152745" y="328222"/>
            <a:ext cx="3187307" cy="2710527"/>
            <a:chOff x="8963033" y="4075274"/>
            <a:chExt cx="3187307" cy="2710527"/>
          </a:xfrm>
        </p:grpSpPr>
        <p:sp>
          <p:nvSpPr>
            <p:cNvPr id="5" name="Freeform 345">
              <a:extLst>
                <a:ext uri="{FF2B5EF4-FFF2-40B4-BE49-F238E27FC236}">
                  <a16:creationId xmlns:a16="http://schemas.microsoft.com/office/drawing/2014/main" id="{2390D2C3-14D2-4B6E-B1A5-F57A40F03745}"/>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346">
              <a:extLst>
                <a:ext uri="{FF2B5EF4-FFF2-40B4-BE49-F238E27FC236}">
                  <a16:creationId xmlns:a16="http://schemas.microsoft.com/office/drawing/2014/main" id="{AF478CE4-61A0-45AA-B5EC-04B2759AEB63}"/>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347">
              <a:extLst>
                <a:ext uri="{FF2B5EF4-FFF2-40B4-BE49-F238E27FC236}">
                  <a16:creationId xmlns:a16="http://schemas.microsoft.com/office/drawing/2014/main" id="{0AC4EE95-B529-4332-BBB2-F5A2F317B4A5}"/>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348">
              <a:extLst>
                <a:ext uri="{FF2B5EF4-FFF2-40B4-BE49-F238E27FC236}">
                  <a16:creationId xmlns:a16="http://schemas.microsoft.com/office/drawing/2014/main" id="{A32B3456-96F7-4070-8ED9-F42F213F880A}"/>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349">
              <a:extLst>
                <a:ext uri="{FF2B5EF4-FFF2-40B4-BE49-F238E27FC236}">
                  <a16:creationId xmlns:a16="http://schemas.microsoft.com/office/drawing/2014/main" id="{04A32DB6-524B-42FA-AB6D-8A4ECD67C31D}"/>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345">
              <a:extLst>
                <a:ext uri="{FF2B5EF4-FFF2-40B4-BE49-F238E27FC236}">
                  <a16:creationId xmlns:a16="http://schemas.microsoft.com/office/drawing/2014/main" id="{CA2BC921-F723-432F-B5AA-EC55C91BFE47}"/>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346">
              <a:extLst>
                <a:ext uri="{FF2B5EF4-FFF2-40B4-BE49-F238E27FC236}">
                  <a16:creationId xmlns:a16="http://schemas.microsoft.com/office/drawing/2014/main" id="{07794447-A4EA-499D-9378-B37925BFEA73}"/>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nvPr>
        </p:nvSpPr>
        <p:spPr/>
        <p:txBody>
          <a:bodyPr/>
          <a:lstStyle/>
          <a:p>
            <a:r>
              <a:rPr lang="en-US"/>
              <a:t>Modules</a:t>
            </a:r>
          </a:p>
        </p:txBody>
      </p:sp>
      <p:graphicFrame>
        <p:nvGraphicFramePr>
          <p:cNvPr id="7" name="Diagram 6" descr="Modules">
            <a:extLst>
              <a:ext uri="{FF2B5EF4-FFF2-40B4-BE49-F238E27FC236}">
                <a16:creationId xmlns:a16="http://schemas.microsoft.com/office/drawing/2014/main" id="{ADC8DEB8-E906-4D87-8BB2-77A102128648}"/>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3752855215"/>
              </p:ext>
            </p:extLst>
          </p:nvPr>
        </p:nvGraphicFramePr>
        <p:xfrm>
          <a:off x="680101" y="1098520"/>
          <a:ext cx="10443697" cy="487680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642460649"/>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C0B39B2-2037-4EBA-A371-BB2092F22155}"/>
              </a:ext>
              <a:ext uri="{C183D7F6-B498-43B3-948B-1728B52AA6E4}">
                <adec:decorative xmlns:adec="http://schemas.microsoft.com/office/drawing/2017/decorative" val="1"/>
              </a:ext>
            </a:extLst>
          </p:cNvPr>
          <p:cNvGrpSpPr/>
          <p:nvPr/>
        </p:nvGrpSpPr>
        <p:grpSpPr>
          <a:xfrm>
            <a:off x="8963033" y="4075274"/>
            <a:ext cx="3187307" cy="2710527"/>
            <a:chOff x="8963033" y="4075274"/>
            <a:chExt cx="3187307" cy="2710527"/>
          </a:xfrm>
        </p:grpSpPr>
        <p:sp>
          <p:nvSpPr>
            <p:cNvPr id="5" name="Freeform 345">
              <a:extLst>
                <a:ext uri="{FF2B5EF4-FFF2-40B4-BE49-F238E27FC236}">
                  <a16:creationId xmlns:a16="http://schemas.microsoft.com/office/drawing/2014/main" id="{3FBAEEEE-77BE-4B08-A847-8DFE942347AE}"/>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reeform 346">
              <a:extLst>
                <a:ext uri="{FF2B5EF4-FFF2-40B4-BE49-F238E27FC236}">
                  <a16:creationId xmlns:a16="http://schemas.microsoft.com/office/drawing/2014/main" id="{23032E4A-56AD-48CD-AE93-41E6A46BFA5F}"/>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Freeform 347">
              <a:extLst>
                <a:ext uri="{FF2B5EF4-FFF2-40B4-BE49-F238E27FC236}">
                  <a16:creationId xmlns:a16="http://schemas.microsoft.com/office/drawing/2014/main" id="{89D084FC-305E-452A-A653-8CB64303D227}"/>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348">
              <a:extLst>
                <a:ext uri="{FF2B5EF4-FFF2-40B4-BE49-F238E27FC236}">
                  <a16:creationId xmlns:a16="http://schemas.microsoft.com/office/drawing/2014/main" id="{DAE3EF4B-B8E3-47E3-B23B-28AC7006FA05}"/>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349">
              <a:extLst>
                <a:ext uri="{FF2B5EF4-FFF2-40B4-BE49-F238E27FC236}">
                  <a16:creationId xmlns:a16="http://schemas.microsoft.com/office/drawing/2014/main" id="{7546BB10-746A-4598-AFC0-A74E836506D8}"/>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345">
              <a:extLst>
                <a:ext uri="{FF2B5EF4-FFF2-40B4-BE49-F238E27FC236}">
                  <a16:creationId xmlns:a16="http://schemas.microsoft.com/office/drawing/2014/main" id="{C32F3345-F5D4-4FF4-A9B9-513BB489C2C0}"/>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346">
              <a:extLst>
                <a:ext uri="{FF2B5EF4-FFF2-40B4-BE49-F238E27FC236}">
                  <a16:creationId xmlns:a16="http://schemas.microsoft.com/office/drawing/2014/main" id="{D3D6E469-56FA-45B9-81D8-0FF5615375D4}"/>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a:t>Agenda Day 1</a:t>
            </a:r>
          </a:p>
        </p:txBody>
      </p:sp>
      <p:graphicFrame>
        <p:nvGraphicFramePr>
          <p:cNvPr id="7" name="Diagram 6" descr="Agenda Day 1">
            <a:extLst>
              <a:ext uri="{FF2B5EF4-FFF2-40B4-BE49-F238E27FC236}">
                <a16:creationId xmlns:a16="http://schemas.microsoft.com/office/drawing/2014/main" id="{ADC8DEB8-E906-4D87-8BB2-77A102128648}"/>
              </a:ext>
            </a:extLst>
          </p:cNvPr>
          <p:cNvGraphicFramePr/>
          <p:nvPr/>
        </p:nvGraphicFramePr>
        <p:xfrm>
          <a:off x="414299" y="1107440"/>
          <a:ext cx="11363404" cy="532000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1397566585"/>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C0B39B2-2037-4EBA-A371-BB2092F22155}"/>
              </a:ext>
              <a:ext uri="{C183D7F6-B498-43B3-948B-1728B52AA6E4}">
                <adec:decorative xmlns:adec="http://schemas.microsoft.com/office/drawing/2017/decorative" val="1"/>
              </a:ext>
            </a:extLst>
          </p:cNvPr>
          <p:cNvGrpSpPr/>
          <p:nvPr/>
        </p:nvGrpSpPr>
        <p:grpSpPr>
          <a:xfrm>
            <a:off x="8963033" y="4075274"/>
            <a:ext cx="3187307" cy="2710527"/>
            <a:chOff x="8963033" y="4075274"/>
            <a:chExt cx="3187307" cy="2710527"/>
          </a:xfrm>
        </p:grpSpPr>
        <p:sp>
          <p:nvSpPr>
            <p:cNvPr id="5" name="Freeform 345">
              <a:extLst>
                <a:ext uri="{FF2B5EF4-FFF2-40B4-BE49-F238E27FC236}">
                  <a16:creationId xmlns:a16="http://schemas.microsoft.com/office/drawing/2014/main" id="{3FBAEEEE-77BE-4B08-A847-8DFE942347AE}"/>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reeform 346">
              <a:extLst>
                <a:ext uri="{FF2B5EF4-FFF2-40B4-BE49-F238E27FC236}">
                  <a16:creationId xmlns:a16="http://schemas.microsoft.com/office/drawing/2014/main" id="{23032E4A-56AD-48CD-AE93-41E6A46BFA5F}"/>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Freeform 347">
              <a:extLst>
                <a:ext uri="{FF2B5EF4-FFF2-40B4-BE49-F238E27FC236}">
                  <a16:creationId xmlns:a16="http://schemas.microsoft.com/office/drawing/2014/main" id="{89D084FC-305E-452A-A653-8CB64303D227}"/>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348">
              <a:extLst>
                <a:ext uri="{FF2B5EF4-FFF2-40B4-BE49-F238E27FC236}">
                  <a16:creationId xmlns:a16="http://schemas.microsoft.com/office/drawing/2014/main" id="{DAE3EF4B-B8E3-47E3-B23B-28AC7006FA05}"/>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349">
              <a:extLst>
                <a:ext uri="{FF2B5EF4-FFF2-40B4-BE49-F238E27FC236}">
                  <a16:creationId xmlns:a16="http://schemas.microsoft.com/office/drawing/2014/main" id="{7546BB10-746A-4598-AFC0-A74E836506D8}"/>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345">
              <a:extLst>
                <a:ext uri="{FF2B5EF4-FFF2-40B4-BE49-F238E27FC236}">
                  <a16:creationId xmlns:a16="http://schemas.microsoft.com/office/drawing/2014/main" id="{C32F3345-F5D4-4FF4-A9B9-513BB489C2C0}"/>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346">
              <a:extLst>
                <a:ext uri="{FF2B5EF4-FFF2-40B4-BE49-F238E27FC236}">
                  <a16:creationId xmlns:a16="http://schemas.microsoft.com/office/drawing/2014/main" id="{D3D6E469-56FA-45B9-81D8-0FF5615375D4}"/>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a:t>Agenda Day 2</a:t>
            </a:r>
          </a:p>
        </p:txBody>
      </p:sp>
      <p:graphicFrame>
        <p:nvGraphicFramePr>
          <p:cNvPr id="7" name="Diagram 6" descr="Agenda Day 2">
            <a:extLst>
              <a:ext uri="{FF2B5EF4-FFF2-40B4-BE49-F238E27FC236}">
                <a16:creationId xmlns:a16="http://schemas.microsoft.com/office/drawing/2014/main" id="{ADC8DEB8-E906-4D87-8BB2-77A102128648}"/>
              </a:ext>
            </a:extLst>
          </p:cNvPr>
          <p:cNvGraphicFramePr/>
          <p:nvPr/>
        </p:nvGraphicFramePr>
        <p:xfrm>
          <a:off x="414299" y="1107440"/>
          <a:ext cx="11363404" cy="532000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45058819"/>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C0B39B2-2037-4EBA-A371-BB2092F22155}"/>
              </a:ext>
              <a:ext uri="{C183D7F6-B498-43B3-948B-1728B52AA6E4}">
                <adec:decorative xmlns:adec="http://schemas.microsoft.com/office/drawing/2017/decorative" val="1"/>
              </a:ext>
            </a:extLst>
          </p:cNvPr>
          <p:cNvGrpSpPr/>
          <p:nvPr/>
        </p:nvGrpSpPr>
        <p:grpSpPr>
          <a:xfrm>
            <a:off x="8963033" y="4075274"/>
            <a:ext cx="3187307" cy="2710527"/>
            <a:chOff x="8963033" y="4075274"/>
            <a:chExt cx="3187307" cy="2710527"/>
          </a:xfrm>
        </p:grpSpPr>
        <p:sp>
          <p:nvSpPr>
            <p:cNvPr id="5" name="Freeform 345">
              <a:extLst>
                <a:ext uri="{FF2B5EF4-FFF2-40B4-BE49-F238E27FC236}">
                  <a16:creationId xmlns:a16="http://schemas.microsoft.com/office/drawing/2014/main" id="{3FBAEEEE-77BE-4B08-A847-8DFE942347AE}"/>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reeform 346">
              <a:extLst>
                <a:ext uri="{FF2B5EF4-FFF2-40B4-BE49-F238E27FC236}">
                  <a16:creationId xmlns:a16="http://schemas.microsoft.com/office/drawing/2014/main" id="{23032E4A-56AD-48CD-AE93-41E6A46BFA5F}"/>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Freeform 347">
              <a:extLst>
                <a:ext uri="{FF2B5EF4-FFF2-40B4-BE49-F238E27FC236}">
                  <a16:creationId xmlns:a16="http://schemas.microsoft.com/office/drawing/2014/main" id="{89D084FC-305E-452A-A653-8CB64303D227}"/>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348">
              <a:extLst>
                <a:ext uri="{FF2B5EF4-FFF2-40B4-BE49-F238E27FC236}">
                  <a16:creationId xmlns:a16="http://schemas.microsoft.com/office/drawing/2014/main" id="{DAE3EF4B-B8E3-47E3-B23B-28AC7006FA05}"/>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349">
              <a:extLst>
                <a:ext uri="{FF2B5EF4-FFF2-40B4-BE49-F238E27FC236}">
                  <a16:creationId xmlns:a16="http://schemas.microsoft.com/office/drawing/2014/main" id="{7546BB10-746A-4598-AFC0-A74E836506D8}"/>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345">
              <a:extLst>
                <a:ext uri="{FF2B5EF4-FFF2-40B4-BE49-F238E27FC236}">
                  <a16:creationId xmlns:a16="http://schemas.microsoft.com/office/drawing/2014/main" id="{C32F3345-F5D4-4FF4-A9B9-513BB489C2C0}"/>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346">
              <a:extLst>
                <a:ext uri="{FF2B5EF4-FFF2-40B4-BE49-F238E27FC236}">
                  <a16:creationId xmlns:a16="http://schemas.microsoft.com/office/drawing/2014/main" id="{D3D6E469-56FA-45B9-81D8-0FF5615375D4}"/>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a:t>Agenda Day 3</a:t>
            </a:r>
          </a:p>
        </p:txBody>
      </p:sp>
      <p:graphicFrame>
        <p:nvGraphicFramePr>
          <p:cNvPr id="7" name="Diagram 6" descr="Agenda Day 3">
            <a:extLst>
              <a:ext uri="{FF2B5EF4-FFF2-40B4-BE49-F238E27FC236}">
                <a16:creationId xmlns:a16="http://schemas.microsoft.com/office/drawing/2014/main" id="{ADC8DEB8-E906-4D87-8BB2-77A102128648}"/>
              </a:ext>
            </a:extLst>
          </p:cNvPr>
          <p:cNvGraphicFramePr/>
          <p:nvPr/>
        </p:nvGraphicFramePr>
        <p:xfrm>
          <a:off x="414299" y="1107440"/>
          <a:ext cx="11363404" cy="532000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3142935976"/>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BD6589-9815-4468-ABEB-B06F20D69671}"/>
              </a:ext>
            </a:extLst>
          </p:cNvPr>
          <p:cNvSpPr>
            <a:spLocks noGrp="1"/>
          </p:cNvSpPr>
          <p:nvPr>
            <p:ph type="title"/>
          </p:nvPr>
        </p:nvSpPr>
        <p:spPr>
          <a:xfrm>
            <a:off x="655638" y="320040"/>
            <a:ext cx="10880725" cy="461665"/>
          </a:xfrm>
        </p:spPr>
        <p:txBody>
          <a:bodyPr/>
          <a:lstStyle/>
          <a:p>
            <a:r>
              <a:rPr lang="en-US" dirty="0"/>
              <a:t>Lab Times - (Minutes)</a:t>
            </a:r>
          </a:p>
        </p:txBody>
      </p:sp>
      <p:graphicFrame>
        <p:nvGraphicFramePr>
          <p:cNvPr id="5" name="Diagram 4">
            <a:extLst>
              <a:ext uri="{FF2B5EF4-FFF2-40B4-BE49-F238E27FC236}">
                <a16:creationId xmlns:a16="http://schemas.microsoft.com/office/drawing/2014/main" id="{BB24B5AB-BD60-44EC-8A46-05A44A0B9EE1}"/>
              </a:ext>
            </a:extLst>
          </p:cNvPr>
          <p:cNvGraphicFramePr/>
          <p:nvPr/>
        </p:nvGraphicFramePr>
        <p:xfrm>
          <a:off x="494071" y="839499"/>
          <a:ext cx="11042292" cy="569846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550341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lt;/Name&gt;&lt;FirstSlideIndex&gt;3&lt;/FirstSlideIndex&gt;&lt;SlidesCount&gt;8&lt;/SlidesCount&gt;&lt;SlideGuids&gt;&lt;guid&gt;af7d8e52-4972-45ba-8569-a3766e0e7e1f&lt;/guid&gt;&lt;guid&gt;5f31ce95-1040-41c6-ba78-10a9b2ed9970&lt;/guid&gt;&lt;guid&gt;3ccd3973-1ec5-46fa-8710-ff514ce2a1f3&lt;/guid&gt;&lt;guid&gt;f412d8f2-7d2e-48c9-b4ca-bb6b11824760&lt;/guid&gt;&lt;guid&gt;2cc5ab1a-c91d-466d-bfef-8fb23e8e4a12&lt;/guid&gt;&lt;guid&gt;ccca499f-6031-4249-9be5-05f0778e93f9&lt;/guid&gt;&lt;guid&gt;c328151a-ce6b-47fd-89fa-845a0dd837d1&lt;/guid&gt;&lt;guid&gt;b5e06058-c39f-48cf-8ba4-c1a5f9f101ce&lt;/guid&gt;&lt;/SlideGuids&gt;&lt;/NativeSection&gt;&lt;NativeSection&gt;&lt;Name&gt;Virtual Introduction&lt;/Name&gt;&lt;FirstSlideIndex&gt;11&lt;/FirstSlideIndex&gt;&lt;SlidesCount&gt;10&lt;/SlidesCount&gt;&lt;SlideGuids&gt;&lt;guid&gt;b32f4005-11ee-4571-9771-859f63e08f74&lt;/guid&gt;&lt;guid&gt;1d0138ab-c9d0-4ed5-8dd2-88379672ce17&lt;/guid&gt;&lt;guid&gt;66aa6373-16a3-4991-89f2-566a2e97143a&lt;/guid&gt;&lt;guid&gt;e320cb71-3b73-4729-84f4-fd02963afdc5&lt;/guid&gt;&lt;guid&gt;2f8245e8-e231-4447-82d8-d97597d20484&lt;/guid&gt;&lt;guid&gt;fc031707-9e97-4ccc-ae34-c0753b7f2591&lt;/guid&gt;&lt;guid&gt;d67d861a-7109-424f-8337-d603a38d76f4&lt;/guid&gt;&lt;guid&gt;e85356c6-ef03-4ff9-8bf8-9b6a00b74c41&lt;/guid&gt;&lt;guid&gt;9ebde364-126f-4efc-bd5c-42053664fe49&lt;/guid&gt;&lt;guid&gt;337401ad-e0b9-4aa7-afee-b90aede246be&lt;/guid&gt;&lt;/SlideGuids&gt;&lt;/NativeSection&gt;&lt;/ArrayOfNativeSection&gt;"/>
  <p:tag name="MIO_EKGUID" val="b69cf4f4-f545-497c-bb98-ebb41290c03b"/>
  <p:tag name="MIO_UPDATE" val="True"/>
  <p:tag name="MIO_VERSION" val="02.12.2019 14:58:12"/>
  <p:tag name="MIO_DBID" val="12B0C59E-2253-4124-A5E9-470ADF4CB168"/>
  <p:tag name="MIO_LASTDOWNLOADED" val="23.01.2020 21:39:46"/>
  <p:tag name="MIO_OBJECTNAME" val="M00 Introduction"/>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MIO_GUID" val="ccca499f-6031-4249-9be5-05f0778e93f9"/>
  <p:tag name="MIO_EKGUID" val="4353de26-2592-4dae-b07b-ed26aeeb437e"/>
  <p:tag name="MIO_UPDATE" val="True"/>
  <p:tag name="MIO_VERSION" val="02.12.2019 14:58:10"/>
  <p:tag name="MIO_DBID" val="12b0c59e-2253-4124-a5e9-470adf4cb168"/>
  <p:tag name="MIO_LASTDOWNLOADED" val="24.01.2020 05:39:40"/>
  <p:tag name="MIO_OBJECTNAME" val="Agenda Day 2"/>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c328151a-ce6b-47fd-89fa-845a0dd837d1"/>
  <p:tag name="MIO_EKGUID" val="24314d8a-b69e-43cc-accd-5d0fcc7e79dc"/>
  <p:tag name="MIO_UPDATE" val="True"/>
  <p:tag name="MIO_VERSION" val="02.12.2019 14:58:10"/>
  <p:tag name="MIO_DBID" val="12b0c59e-2253-4124-a5e9-470adf4cb168"/>
  <p:tag name="MIO_LASTDOWNLOADED" val="24.01.2020 05:39:40"/>
  <p:tag name="MIO_OBJECTNAME" val="Agenda Day 3"/>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5f31ce95-1040-41c6-ba78-10a9b2ed9970"/>
  <p:tag name="MIO_EKGUID" val="9967bc11-5d16-466f-a137-6c47858ef342"/>
  <p:tag name="MIO_UPDATE" val="True"/>
  <p:tag name="MIO_VERSION" val="02.12.2019 14:58:10"/>
  <p:tag name="MIO_DBID" val="12b0c59e-2253-4124-a5e9-470adf4cb168"/>
  <p:tag name="MIO_LASTDOWNLOADED" val="24.01.2020 05:39:39"/>
  <p:tag name="MIO_OBJECTNAME" val="Attendee Introductions"/>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e320cb71-3b73-4729-84f4-fd02963afdc5"/>
  <p:tag name="MIO_EKGUID" val="15f3750e-3740-4a18-809e-fa60fc63198a"/>
  <p:tag name="MIO_UPDATE" val="True"/>
  <p:tag name="MIO_VERSION" val="02.12.2019 14:58:11"/>
  <p:tag name="MIO_DBID" val="12b0c59e-2253-4124-a5e9-470adf4cb168"/>
  <p:tag name="MIO_LASTDOWNLOADED" val="24.01.2020 05:39:41"/>
  <p:tag name="MIO_OBJECTNAME" val="Connect to Lab environment LOD"/>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fc031707-9e97-4ccc-ae34-c0753b7f2591"/>
  <p:tag name="MIO_EKGUID" val="f41c490d-bfd7-4d3e-b6ca-ccefd6e145b4"/>
  <p:tag name="MIO_UPDATE" val="True"/>
  <p:tag name="MIO_VERSION" val="02.12.2019 14:58:12"/>
  <p:tag name="MIO_DBID" val="12b0c59e-2253-4124-a5e9-470adf4cb168"/>
  <p:tag name="MIO_LASTDOWNLOADED" val="24.01.2020 05:39:41"/>
  <p:tag name="MIO_OBJECTNAME" val="Launch Lab"/>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d67d861a-7109-424f-8337-d603a38d76f4"/>
  <p:tag name="MIO_EKGUID" val="801e3df6-faa9-4e68-af41-9e0f1ff861a4"/>
  <p:tag name="MIO_UPDATE" val="True"/>
  <p:tag name="MIO_VERSION" val="02.12.2019 14:58:12"/>
  <p:tag name="MIO_DBID" val="12b0c59e-2253-4124-a5e9-470adf4cb168"/>
  <p:tag name="MIO_LASTDOWNLOADED" val="24.01.2020 05:39:41"/>
  <p:tag name="MIO_OBJECTNAME" val="Lab environment LOD"/>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d67d861a-7109-424f-8337-d603a38d76f4"/>
  <p:tag name="MIO_EKGUID" val="801e3df6-faa9-4e68-af41-9e0f1ff861a4"/>
  <p:tag name="MIO_UPDATE" val="True"/>
  <p:tag name="MIO_VERSION" val="02.12.2019 14:58:12"/>
  <p:tag name="MIO_DBID" val="12b0c59e-2253-4124-a5e9-470adf4cb168"/>
  <p:tag name="MIO_LASTDOWNLOADED" val="24.01.2020 05:39:41"/>
  <p:tag name="MIO_OBJECTNAME" val="Lab environment LOD"/>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d67d861a-7109-424f-8337-d603a38d76f4"/>
  <p:tag name="MIO_EKGUID" val="801e3df6-faa9-4e68-af41-9e0f1ff861a4"/>
  <p:tag name="MIO_UPDATE" val="True"/>
  <p:tag name="MIO_VERSION" val="02.12.2019 14:58:12"/>
  <p:tag name="MIO_DBID" val="12b0c59e-2253-4124-a5e9-470adf4cb168"/>
  <p:tag name="MIO_LASTDOWNLOADED" val="24.01.2020 05:39:41"/>
  <p:tag name="MIO_OBJECTNAME" val="Lab environment LOD"/>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9ebde364-126f-4efc-bd5c-42053664fe49"/>
  <p:tag name="MIO_EKGUID" val="ab10b06e-61c1-467f-8508-e51efc0b4fac"/>
  <p:tag name="MIO_UPDATE" val="True"/>
  <p:tag name="MIO_VERSION" val="02.12.2019 14:58:12"/>
  <p:tag name="MIO_DBID" val="12b0c59e-2253-4124-a5e9-470adf4cb168"/>
  <p:tag name="MIO_LASTDOWNLOADED" val="24.01.2020 05:39:41"/>
  <p:tag name="MIO_OBJECTNAME" val="LOD LabTime Remaining"/>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b32f4005-11ee-4571-9771-859f63e08f74"/>
  <p:tag name="MIO_EKGUID" val="4e4d5d42-ff7c-4a06-bfc3-77ea9fd54512"/>
  <p:tag name="MIO_UPDATE" val="True"/>
  <p:tag name="MIO_VERSION" val="02.12.2019 14:58:11"/>
  <p:tag name="MIO_DBID" val="12b0c59e-2253-4124-a5e9-470adf4cb168"/>
  <p:tag name="MIO_LASTDOWNLOADED" val="24.01.2020 05:39:40"/>
  <p:tag name="MIO_OBJECTNAME" val="Get Ready to Participate"/>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feb9e746-1cf6-44ec-818b-97c8219395df"/>
  <p:tag name="MIO_EKGUID" val="eececc6f-ec1c-45f1-8758-6e452d38ddc5"/>
  <p:tag name="MIO_UPDATE" val="True"/>
  <p:tag name="MIO_VERSION" val="02.12.2019 14:58:10"/>
  <p:tag name="MIO_DBID" val="12b0c59e-2253-4124-a5e9-470adf4cb168"/>
  <p:tag name="MIO_LASTDOWNLOADED" val="24.01.2020 05:39:39"/>
  <p:tag name="MIO_OBJECTNAME" val="WorkshopPLUS - Windows PowerShell: Foundation Skills"/>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EKGUID" val="eee481a8-d069-42c0-bbbf-c67080f0abbf"/>
  <p:tag name="MIO_GUID" val="a2d583d4-af09-4112-a730-c6147e1bd0c1"/>
  <p:tag name="MIO_UPDATE" val="True"/>
  <p:tag name="MIO_DBID" val="12B0C59E-2253-4124-A5E9-470ADF4CB168"/>
  <p:tag name="MIO_LASTDOWNLOADED" val="08.11.2019 12:17:16"/>
  <p:tag name="MIO_OBJECTNAME" val="Ofc17_Amelia_006"/>
  <p:tag name="MIO_LASTEDITORNAME" val="Rachael Jones"/>
</p:tagLst>
</file>

<file path=ppt/tags/tag7.xml><?xml version="1.0" encoding="utf-8"?>
<p:tagLst xmlns:a="http://schemas.openxmlformats.org/drawingml/2006/main" xmlns:r="http://schemas.openxmlformats.org/officeDocument/2006/relationships" xmlns:p="http://schemas.openxmlformats.org/presentationml/2006/main">
  <p:tag name="MIO_GUID" val="b3ff17ae-2d13-4d55-b35c-a36d8e2e7bec"/>
  <p:tag name="MIO_EKGUID" val="a1d7099d-3e1a-44f2-ad80-5704e0b3c64e"/>
  <p:tag name="MIO_UPDATE" val="True"/>
  <p:tag name="MIO_VERSION" val="02.12.2019 14:58:10"/>
  <p:tag name="MIO_DBID" val="12b0c59e-2253-4124-a5e9-470adf4cb168"/>
  <p:tag name="MIO_LASTDOWNLOADED" val="24.01.2020 05:39:39"/>
  <p:tag name="MIO_OBJECTNAME" val="Disclaimer"/>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f412d8f2-7d2e-48c9-b4ca-bb6b11824760"/>
  <p:tag name="MIO_EKGUID" val="d8e78da0-d842-439f-977f-53c19e5cfa35"/>
  <p:tag name="MIO_UPDATE" val="True"/>
  <p:tag name="MIO_VERSION" val="02.12.2019 14:58:10"/>
  <p:tag name="MIO_DBID" val="12b0c59e-2253-4124-a5e9-470adf4cb168"/>
  <p:tag name="MIO_LASTDOWNLOADED" val="24.01.2020 05:39:40"/>
  <p:tag name="MIO_OBJECTNAME" val="Modules"/>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2cc5ab1a-c91d-466d-bfef-8fb23e8e4a12"/>
  <p:tag name="MIO_EKGUID" val="43fd70c7-bbe3-4243-b3fe-38f65823c61e"/>
  <p:tag name="MIO_UPDATE" val="True"/>
  <p:tag name="MIO_VERSION" val="02.12.2019 14:58:10"/>
  <p:tag name="MIO_DBID" val="12b0c59e-2253-4124-a5e9-470adf4cb168"/>
  <p:tag name="MIO_LASTDOWNLOADED" val="24.01.2020 05:39:40"/>
  <p:tag name="MIO_OBJECTNAME" val="Agenda Day 1"/>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0.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4" ma:contentTypeDescription="Create a new document." ma:contentTypeScope="" ma:versionID="1df681d697d8aac7f77a088f07a7b417">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5129d515aaa5dedb4e6d2d94ccbda6ba"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element ref="ns2: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_Flow_SignoffStatus" ma:index="21" nillable="true" ma:displayName="Sign-off status" ma:internalName="Sign_x002d_off_x0020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1.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6.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0b15a96f-9efd-4f0c-b199-c53b2a01cb9d" xsi:nil="true"/>
    <_Flow_SignoffStatus xmlns="0b15a96f-9efd-4f0c-b199-c53b2a01cb9d" xsi:nil="true"/>
  </documentManagement>
</p:properties>
</file>

<file path=customXml/item7.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8.xml><?xml version="1.0" encoding="utf-8"?>
<?mso-contentType ?>
<FormTemplates xmlns="http://schemas.microsoft.com/sharepoint/v3/contenttype/forms">
  <Display>DocumentLibraryForm</Display>
  <Edit>DocumentLibraryForm</Edit>
  <New>DocumentLibraryForm</New>
</FormTemplates>
</file>

<file path=customXml/item9.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B2274A60-1BB2-4B7C-B837-1F17CDA5AFC5}">
  <ds:schemaRefs>
    <ds:schemaRef ds:uri="Strauss.PersonalizationDefinition"/>
  </ds:schemaRefs>
</ds:datastoreItem>
</file>

<file path=customXml/itemProps10.xml><?xml version="1.0" encoding="utf-8"?>
<ds:datastoreItem xmlns:ds="http://schemas.openxmlformats.org/officeDocument/2006/customXml" ds:itemID="{BEA93FB7-AD62-4638-95DC-85270939B0F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1.xml><?xml version="1.0" encoding="utf-8"?>
<ds:datastoreItem xmlns:ds="http://schemas.openxmlformats.org/officeDocument/2006/customXml" ds:itemID="{6B056362-4629-4DC0-97AE-35A452D8CA43}">
  <ds:schemaRefs>
    <ds:schemaRef ds:uri="Strauss.PersonalizationDefinition"/>
  </ds:schemaRefs>
</ds:datastoreItem>
</file>

<file path=customXml/itemProps12.xml><?xml version="1.0" encoding="utf-8"?>
<ds:datastoreItem xmlns:ds="http://schemas.openxmlformats.org/officeDocument/2006/customXml" ds:itemID="{C70CBAEA-BF50-48A9-AB69-EA8F2D9F497F}">
  <ds:schemaRefs>
    <ds:schemaRef ds:uri="Strauss.PersonalizationDefinition"/>
  </ds:schemaRefs>
</ds:datastoreItem>
</file>

<file path=customXml/itemProps13.xml><?xml version="1.0" encoding="utf-8"?>
<ds:datastoreItem xmlns:ds="http://schemas.openxmlformats.org/officeDocument/2006/customXml" ds:itemID="{6086D074-A20F-42C3-99F7-8A2151FDC198}">
  <ds:schemaRefs>
    <ds:schemaRef ds:uri="Strauss.PersonalizationDefinition"/>
  </ds:schemaRefs>
</ds:datastoreItem>
</file>

<file path=customXml/itemProps14.xml><?xml version="1.0" encoding="utf-8"?>
<ds:datastoreItem xmlns:ds="http://schemas.openxmlformats.org/officeDocument/2006/customXml" ds:itemID="{4566FAF2-8C95-4ED1-987E-991C07C002BF}">
  <ds:schemaRefs>
    <ds:schemaRef ds:uri="Strauss.PersonalizationDefinition"/>
  </ds:schemaRefs>
</ds:datastoreItem>
</file>

<file path=customXml/itemProps15.xml><?xml version="1.0" encoding="utf-8"?>
<ds:datastoreItem xmlns:ds="http://schemas.openxmlformats.org/officeDocument/2006/customXml" ds:itemID="{D959A07B-C49D-428D-B914-113B444FB5E7}">
  <ds:schemaRefs>
    <ds:schemaRef ds:uri="Strauss.PersonalizationDefinition"/>
  </ds:schemaRefs>
</ds:datastoreItem>
</file>

<file path=customXml/itemProps16.xml><?xml version="1.0" encoding="utf-8"?>
<ds:datastoreItem xmlns:ds="http://schemas.openxmlformats.org/officeDocument/2006/customXml" ds:itemID="{F1536756-22CA-4EAB-B3B9-5B672D820682}">
  <ds:schemaRefs>
    <ds:schemaRef ds:uri="Strauss.PersonalizationDefinition"/>
  </ds:schemaRefs>
</ds:datastoreItem>
</file>

<file path=customXml/itemProps17.xml><?xml version="1.0" encoding="utf-8"?>
<ds:datastoreItem xmlns:ds="http://schemas.openxmlformats.org/officeDocument/2006/customXml" ds:itemID="{B188CF15-D42D-447A-94B6-5DE94ECC275F}">
  <ds:schemaRefs>
    <ds:schemaRef ds:uri="Strauss.PersonalizationDefinition"/>
  </ds:schemaRefs>
</ds:datastoreItem>
</file>

<file path=customXml/itemProps18.xml><?xml version="1.0" encoding="utf-8"?>
<ds:datastoreItem xmlns:ds="http://schemas.openxmlformats.org/officeDocument/2006/customXml" ds:itemID="{66218E63-BE1E-439D-BD87-0C90553716D0}">
  <ds:schemaRefs>
    <ds:schemaRef ds:uri="Strauss.PersonalizationDefinition"/>
  </ds:schemaRefs>
</ds:datastoreItem>
</file>

<file path=customXml/itemProps2.xml><?xml version="1.0" encoding="utf-8"?>
<ds:datastoreItem xmlns:ds="http://schemas.openxmlformats.org/officeDocument/2006/customXml" ds:itemID="{D90DEB8C-C00E-4B1C-B45B-737A9292CE09}">
  <ds:schemaRefs>
    <ds:schemaRef ds:uri="Strauss.PersonalizationDefinition"/>
  </ds:schemaRefs>
</ds:datastoreItem>
</file>

<file path=customXml/itemProps3.xml><?xml version="1.0" encoding="utf-8"?>
<ds:datastoreItem xmlns:ds="http://schemas.openxmlformats.org/officeDocument/2006/customXml" ds:itemID="{6F485757-9F3C-4A1E-9E86-E1C1551910BA}">
  <ds:schemaRefs>
    <ds:schemaRef ds:uri="Strauss.PersonalizationDefinition"/>
  </ds:schemaRefs>
</ds:datastoreItem>
</file>

<file path=customXml/itemProps4.xml><?xml version="1.0" encoding="utf-8"?>
<ds:datastoreItem xmlns:ds="http://schemas.openxmlformats.org/officeDocument/2006/customXml" ds:itemID="{AF760E59-97AE-4538-B6A6-5DAE18A6CA97}">
  <ds:schemaRefs>
    <ds:schemaRef ds:uri="Strauss.PersonalizationDefinition"/>
  </ds:schemaRefs>
</ds:datastoreItem>
</file>

<file path=customXml/itemProps5.xml><?xml version="1.0" encoding="utf-8"?>
<ds:datastoreItem xmlns:ds="http://schemas.openxmlformats.org/officeDocument/2006/customXml" ds:itemID="{6B2F7B94-2B12-4A65-964B-9372138E0DC1}">
  <ds:schemaRefs>
    <ds:schemaRef ds:uri="Strauss.PersonalizationDefinition"/>
  </ds:schemaRefs>
</ds:datastoreItem>
</file>

<file path=customXml/itemProps6.xml><?xml version="1.0" encoding="utf-8"?>
<ds:datastoreItem xmlns:ds="http://schemas.openxmlformats.org/officeDocument/2006/customXml" ds:itemID="{C412598E-BF43-4F55-B1FB-DC8EF944E888}">
  <ds:schemaRefs>
    <ds:schemaRef ds:uri="http://schemas.microsoft.com/office/2006/metadata/properties"/>
    <ds:schemaRef ds:uri="http://schemas.microsoft.com/office/infopath/2007/PartnerControls"/>
    <ds:schemaRef ds:uri="http://schemas.microsoft.com/sharepoint/v3"/>
    <ds:schemaRef ds:uri="0b15a96f-9efd-4f0c-b199-c53b2a01cb9d"/>
  </ds:schemaRefs>
</ds:datastoreItem>
</file>

<file path=customXml/itemProps7.xml><?xml version="1.0" encoding="utf-8"?>
<ds:datastoreItem xmlns:ds="http://schemas.openxmlformats.org/officeDocument/2006/customXml" ds:itemID="{6942E53B-4C29-49EA-9D33-6276B6C11A61}">
  <ds:schemaRefs>
    <ds:schemaRef ds:uri="Strauss.PersonalizationDefinition"/>
  </ds:schemaRefs>
</ds:datastoreItem>
</file>

<file path=customXml/itemProps8.xml><?xml version="1.0" encoding="utf-8"?>
<ds:datastoreItem xmlns:ds="http://schemas.openxmlformats.org/officeDocument/2006/customXml" ds:itemID="{7D506C23-AA6D-4921-8107-27C3A6154D37}">
  <ds:schemaRefs>
    <ds:schemaRef ds:uri="http://schemas.microsoft.com/sharepoint/v3/contenttype/forms"/>
  </ds:schemaRefs>
</ds:datastoreItem>
</file>

<file path=customXml/itemProps9.xml><?xml version="1.0" encoding="utf-8"?>
<ds:datastoreItem xmlns:ds="http://schemas.openxmlformats.org/officeDocument/2006/customXml" ds:itemID="{DF333A1B-0A9C-4DA8-ADAB-4378B69FDC48}">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odule_Template</Template>
  <TotalTime>140</TotalTime>
  <Words>881</Words>
  <Application>Microsoft Office PowerPoint</Application>
  <PresentationFormat>Widescreen</PresentationFormat>
  <Paragraphs>171</Paragraphs>
  <Slides>18</Slides>
  <Notes>17</Notes>
  <HiddenSlides>1</HiddenSlides>
  <MMClips>0</MMClips>
  <ScaleCrop>false</ScaleCrop>
  <HeadingPairs>
    <vt:vector size="6" baseType="variant">
      <vt:variant>
        <vt:lpstr>Fonts Used</vt:lpstr>
      </vt:variant>
      <vt:variant>
        <vt:i4>10</vt:i4>
      </vt:variant>
      <vt:variant>
        <vt:lpstr>Theme</vt:lpstr>
      </vt:variant>
      <vt:variant>
        <vt:i4>2</vt:i4>
      </vt:variant>
      <vt:variant>
        <vt:lpstr>Slide Titles</vt:lpstr>
      </vt:variant>
      <vt:variant>
        <vt:i4>18</vt:i4>
      </vt:variant>
    </vt:vector>
  </HeadingPairs>
  <TitlesOfParts>
    <vt:vector size="30" baseType="lpstr">
      <vt:lpstr>Arial</vt:lpstr>
      <vt:lpstr>Calibri</vt:lpstr>
      <vt:lpstr>Calibri Light</vt:lpstr>
      <vt:lpstr>Century Gothic</vt:lpstr>
      <vt:lpstr>Comic Sans MS</vt:lpstr>
      <vt:lpstr>Consolas</vt:lpstr>
      <vt:lpstr>Segoe UI</vt:lpstr>
      <vt:lpstr>Segoe UI Light</vt:lpstr>
      <vt:lpstr>Segoe UI Semibold</vt:lpstr>
      <vt:lpstr>Wingdings</vt:lpstr>
      <vt:lpstr>Dark Blue</vt:lpstr>
      <vt:lpstr>PASS 2013_SpeakerTemplate_Final</vt:lpstr>
      <vt:lpstr>WorkshopPLUS - Data AI:  Azure SQL Database Essentials</vt:lpstr>
      <vt:lpstr>Disclaimer</vt:lpstr>
      <vt:lpstr>PowerPoint Presentation</vt:lpstr>
      <vt:lpstr>Facilities</vt:lpstr>
      <vt:lpstr>Modules</vt:lpstr>
      <vt:lpstr>Agenda Day 1</vt:lpstr>
      <vt:lpstr>Agenda Day 2</vt:lpstr>
      <vt:lpstr>Agenda Day 3</vt:lpstr>
      <vt:lpstr>Lab Times - (Minutes)</vt:lpstr>
      <vt:lpstr>Attendee Introductions</vt:lpstr>
      <vt:lpstr>Connect to Lab environment</vt:lpstr>
      <vt:lpstr>Class Resources</vt:lpstr>
      <vt:lpstr>Lab environment</vt:lpstr>
      <vt:lpstr>Azure Portal Environment </vt:lpstr>
      <vt:lpstr>Virtual Machine  Lab Environment </vt:lpstr>
      <vt:lpstr>Lab Time Remaining</vt:lpstr>
      <vt:lpstr>Get Ready to Participate</vt:lpstr>
      <vt:lpstr>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Windows PowerShell: Foundation Skills</dc:title>
  <dc:creator>Martijn van Geffen</dc:creator>
  <cp:lastModifiedBy>John Deardurff</cp:lastModifiedBy>
  <cp:revision>16</cp:revision>
  <dcterms:created xsi:type="dcterms:W3CDTF">2019-01-14T09:17:39Z</dcterms:created>
  <dcterms:modified xsi:type="dcterms:W3CDTF">2022-02-07T14:34: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528CD5CA8D1C4FB5CF073D0D91135B</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devidt@microsoft.com</vt:lpwstr>
  </property>
  <property fmtid="{D5CDD505-2E9C-101B-9397-08002B2CF9AE}" pid="6" name="MSIP_Label_f42aa342-8706-4288-bd11-ebb85995028c_SetDate">
    <vt:lpwstr>2019-09-20T09:39:24.4097518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ActionId">
    <vt:lpwstr>205c0ddf-f806-4af5-8105-3c14fbe37948</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